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6"/>
  </p:notesMasterIdLst>
  <p:sldIdLst>
    <p:sldId id="259" r:id="rId2"/>
    <p:sldId id="290" r:id="rId3"/>
    <p:sldId id="257" r:id="rId4"/>
    <p:sldId id="278" r:id="rId5"/>
    <p:sldId id="287" r:id="rId6"/>
    <p:sldId id="817" r:id="rId7"/>
    <p:sldId id="285" r:id="rId8"/>
    <p:sldId id="813" r:id="rId9"/>
    <p:sldId id="297" r:id="rId10"/>
    <p:sldId id="800" r:id="rId11"/>
    <p:sldId id="804" r:id="rId12"/>
    <p:sldId id="294" r:id="rId13"/>
    <p:sldId id="292" r:id="rId14"/>
    <p:sldId id="295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16" autoAdjust="0"/>
    <p:restoredTop sz="94660"/>
  </p:normalViewPr>
  <p:slideViewPr>
    <p:cSldViewPr snapToGrid="0">
      <p:cViewPr varScale="1">
        <p:scale>
          <a:sx n="76" d="100"/>
          <a:sy n="76" d="100"/>
        </p:scale>
        <p:origin x="126" y="7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FB0A26-67D8-4154-9816-7D89948A99D4}" type="datetimeFigureOut">
              <a:rPr lang="en-GB" smtClean="0"/>
              <a:t>13/04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EFC974-BE72-4832-B808-9CB80937137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46631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Meet up monthly for community of practitioners, link up what everyone else is do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DE4ECD-66E6-4807-94EF-4F0EDF210E2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95418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Hybrid approach, working closely with partners, green health partners, highland youth parlia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DE4ECD-66E6-4807-94EF-4F0EDF210E2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03205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Hybrid approach, working closely with partners, green health partners, highland youth parliament</a:t>
            </a: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DE4ECD-66E6-4807-94EF-4F0EDF210E2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04046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emf"/><Relationship Id="rId5" Type="http://schemas.openxmlformats.org/officeDocument/2006/relationships/image" Target="../media/image7.emf"/><Relationship Id="rId4" Type="http://schemas.openxmlformats.org/officeDocument/2006/relationships/image" Target="../media/image6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B4EA199-BC0D-41CE-B24B-49A92CE280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2549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B4EA199-BC0D-41CE-B24B-49A92CE280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122CE423-27A0-4D3F-8ADB-CD41E074027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6413"/>
          </a:xfrm>
          <a:noFill/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22852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9">
            <a:extLst>
              <a:ext uri="{FF2B5EF4-FFF2-40B4-BE49-F238E27FC236}">
                <a16:creationId xmlns:a16="http://schemas.microsoft.com/office/drawing/2014/main" id="{DA7B6B3C-A702-458E-AA64-B82017733E97}"/>
              </a:ext>
            </a:extLst>
          </p:cNvPr>
          <p:cNvSpPr>
            <a:spLocks/>
          </p:cNvSpPr>
          <p:nvPr userDrawn="1"/>
        </p:nvSpPr>
        <p:spPr bwMode="auto">
          <a:xfrm rot="16200000">
            <a:off x="5122488" y="944407"/>
            <a:ext cx="4271520" cy="5052313"/>
          </a:xfrm>
          <a:custGeom>
            <a:avLst/>
            <a:gdLst>
              <a:gd name="T0" fmla="*/ 0 w 546"/>
              <a:gd name="T1" fmla="*/ 161 h 363"/>
              <a:gd name="T2" fmla="*/ 241 w 546"/>
              <a:gd name="T3" fmla="*/ 351 h 363"/>
              <a:gd name="T4" fmla="*/ 500 w 546"/>
              <a:gd name="T5" fmla="*/ 161 h 363"/>
              <a:gd name="T6" fmla="*/ 0 w 546"/>
              <a:gd name="T7" fmla="*/ 161 h 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46" h="363">
                <a:moveTo>
                  <a:pt x="0" y="161"/>
                </a:moveTo>
                <a:cubicBezTo>
                  <a:pt x="0" y="161"/>
                  <a:pt x="115" y="340"/>
                  <a:pt x="241" y="351"/>
                </a:cubicBezTo>
                <a:cubicBezTo>
                  <a:pt x="368" y="363"/>
                  <a:pt x="546" y="242"/>
                  <a:pt x="500" y="161"/>
                </a:cubicBezTo>
                <a:cubicBezTo>
                  <a:pt x="454" y="81"/>
                  <a:pt x="46" y="0"/>
                  <a:pt x="0" y="16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32D36E7C-54FA-43FC-9D57-12CAEC1FC17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5998" y="2523743"/>
            <a:ext cx="4785359" cy="3580149"/>
          </a:xfrm>
          <a:prstGeom prst="roundRect">
            <a:avLst>
              <a:gd name="adj" fmla="val 11494"/>
            </a:avLst>
          </a:pr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id-ID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7048B23-CFDF-44D0-8D43-F09CA1B84570}"/>
              </a:ext>
            </a:extLst>
          </p:cNvPr>
          <p:cNvSpPr/>
          <p:nvPr userDrawn="1"/>
        </p:nvSpPr>
        <p:spPr>
          <a:xfrm>
            <a:off x="0" y="0"/>
            <a:ext cx="12192000" cy="45719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DDD2CF1-2F88-458F-B5AA-88A297691D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6601" y="257088"/>
            <a:ext cx="1190600" cy="49859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7EE9CCEF-081C-4361-98BA-47F8BBBFC3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1" y="257087"/>
            <a:ext cx="11582400" cy="498598"/>
          </a:xfrm>
        </p:spPr>
        <p:txBody>
          <a:bodyPr vert="horz" wrap="square" lIns="0" tIns="0" rIns="0" bIns="0" anchor="t">
            <a:spAutoFit/>
          </a:bodyPr>
          <a:lstStyle>
            <a:lvl1pPr algn="l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Text Here</a:t>
            </a:r>
            <a:endParaRPr lang="en-GB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9FF6C957-98B5-4F34-B7AD-004D7B386DE9}"/>
              </a:ext>
            </a:extLst>
          </p:cNvPr>
          <p:cNvSpPr/>
          <p:nvPr userDrawn="1"/>
        </p:nvSpPr>
        <p:spPr>
          <a:xfrm>
            <a:off x="11725201" y="6389370"/>
            <a:ext cx="324000" cy="324000"/>
          </a:xfrm>
          <a:prstGeom prst="ellipse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lvl="0" algn="ctr"/>
            <a:fld id="{2BE5444B-4271-492E-9574-164FD80BD889}" type="slidenum">
              <a:rPr lang="en-US" sz="900" smtClean="0">
                <a:solidFill>
                  <a:schemeClr val="bg1"/>
                </a:solidFill>
              </a:rPr>
              <a:pPr lvl="0" algn="ctr"/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91491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CF4903-B80D-476D-8DF0-7685039DBB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843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CF4903-B80D-476D-8DF0-7685039DBB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E20CBAAA-6113-4C11-9363-A7D7CEFCE5C4}"/>
              </a:ext>
            </a:extLst>
          </p:cNvPr>
          <p:cNvSpPr/>
          <p:nvPr userDrawn="1"/>
        </p:nvSpPr>
        <p:spPr>
          <a:xfrm>
            <a:off x="0" y="0"/>
            <a:ext cx="314831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B91E6428-78DF-4252-B17D-6C8B188E5A0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46350" y="787078"/>
            <a:ext cx="5128020" cy="5283844"/>
          </a:xfrm>
          <a:prstGeom prst="roundRect">
            <a:avLst>
              <a:gd name="adj" fmla="val 7413"/>
            </a:avLst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6083110-B59B-4C07-9640-717478DA8081}"/>
              </a:ext>
            </a:extLst>
          </p:cNvPr>
          <p:cNvSpPr/>
          <p:nvPr userDrawn="1"/>
        </p:nvSpPr>
        <p:spPr>
          <a:xfrm>
            <a:off x="11725201" y="6389370"/>
            <a:ext cx="324000" cy="324000"/>
          </a:xfrm>
          <a:prstGeom prst="ellipse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lvl="0" algn="ctr"/>
            <a:fld id="{2BE5444B-4271-492E-9574-164FD80BD889}" type="slidenum">
              <a:rPr lang="en-US" sz="900" smtClean="0">
                <a:solidFill>
                  <a:schemeClr val="bg1"/>
                </a:solidFill>
              </a:rPr>
              <a:pPr lvl="0" algn="ctr"/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DF9768D-8C30-4A3A-9A8E-34CCE1925B2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6601" y="257088"/>
            <a:ext cx="1190600" cy="498598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8AE34F80-8C51-4BE8-8204-B52C6D39FA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753" y="787078"/>
            <a:ext cx="5648447" cy="498598"/>
          </a:xfrm>
        </p:spPr>
        <p:txBody>
          <a:bodyPr vert="horz" wrap="square" lIns="0" tIns="0" rIns="0" bIns="0" anchor="t">
            <a:spAutoFit/>
          </a:bodyPr>
          <a:lstStyle>
            <a:lvl1pPr algn="l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Text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3530208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0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CF4903-B80D-476D-8DF0-7685039DBB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98651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CF4903-B80D-476D-8DF0-7685039DBB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E20CBAAA-6113-4C11-9363-A7D7CEFCE5C4}"/>
              </a:ext>
            </a:extLst>
          </p:cNvPr>
          <p:cNvSpPr/>
          <p:nvPr userDrawn="1"/>
        </p:nvSpPr>
        <p:spPr>
          <a:xfrm>
            <a:off x="0" y="0"/>
            <a:ext cx="2694215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EB82A90-1ADF-4FAE-809C-3F00215098B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694215" y="0"/>
            <a:ext cx="3837214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5F3BE00-72D7-4492-ACFE-5FA00191439D}"/>
              </a:ext>
            </a:extLst>
          </p:cNvPr>
          <p:cNvSpPr/>
          <p:nvPr userDrawn="1"/>
        </p:nvSpPr>
        <p:spPr>
          <a:xfrm>
            <a:off x="11725201" y="6389370"/>
            <a:ext cx="324000" cy="324000"/>
          </a:xfrm>
          <a:prstGeom prst="ellipse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lvl="0" algn="ctr"/>
            <a:fld id="{2BE5444B-4271-492E-9574-164FD80BD889}" type="slidenum">
              <a:rPr lang="en-US" sz="900" smtClean="0">
                <a:solidFill>
                  <a:schemeClr val="bg1"/>
                </a:solidFill>
              </a:rPr>
              <a:pPr lvl="0" algn="ctr"/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3D3F828-F185-4524-BADD-B5F3B4FBCE9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6601" y="257088"/>
            <a:ext cx="1190600" cy="49859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C59202F9-AAE1-426C-98FF-DDF62A48D9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88480" y="787078"/>
            <a:ext cx="4998720" cy="498598"/>
          </a:xfrm>
        </p:spPr>
        <p:txBody>
          <a:bodyPr vert="horz" wrap="square" lIns="0" tIns="0" rIns="0" bIns="0" anchor="t">
            <a:spAutoFit/>
          </a:bodyPr>
          <a:lstStyle>
            <a:lvl1pPr algn="l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Text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5185043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06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CF4903-B80D-476D-8DF0-7685039DBB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8491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7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CF4903-B80D-476D-8DF0-7685039DBB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B91E6428-78DF-4252-B17D-6C8B188E5A0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6088063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8C563DC-1FD4-4A15-A196-1611BF7C68E0}"/>
              </a:ext>
            </a:extLst>
          </p:cNvPr>
          <p:cNvSpPr/>
          <p:nvPr userDrawn="1"/>
        </p:nvSpPr>
        <p:spPr>
          <a:xfrm>
            <a:off x="11725201" y="6389370"/>
            <a:ext cx="324000" cy="324000"/>
          </a:xfrm>
          <a:prstGeom prst="ellipse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lvl="0" algn="ctr"/>
            <a:fld id="{2BE5444B-4271-492E-9574-164FD80BD889}" type="slidenum">
              <a:rPr lang="en-US" sz="900" smtClean="0">
                <a:solidFill>
                  <a:schemeClr val="bg1"/>
                </a:solidFill>
              </a:rPr>
              <a:pPr lvl="0" algn="ctr"/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CAAE668-1359-4B83-B28C-6EE2C49CFEF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6601" y="257088"/>
            <a:ext cx="1190600" cy="49859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0D1AFD7-6FB0-4409-8B70-AE106C40F58A}"/>
              </a:ext>
            </a:extLst>
          </p:cNvPr>
          <p:cNvSpPr/>
          <p:nvPr userDrawn="1"/>
        </p:nvSpPr>
        <p:spPr>
          <a:xfrm>
            <a:off x="6096001" y="1428984"/>
            <a:ext cx="71120" cy="1218795"/>
          </a:xfrm>
          <a:prstGeom prst="rect">
            <a:avLst/>
          </a:prstGeom>
          <a:solidFill>
            <a:schemeClr val="accent2"/>
          </a:solidFill>
          <a:ln w="381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en-US">
              <a:solidFill>
                <a:schemeClr val="tx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795F432-B7BA-4601-BD99-134F9C622F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46787" y="1428984"/>
            <a:ext cx="5540414" cy="1218795"/>
          </a:xfrm>
        </p:spPr>
        <p:txBody>
          <a:bodyPr vert="horz" wrap="square" lIns="0" tIns="0" rIns="0" bIns="0" anchor="t">
            <a:spAutoFit/>
          </a:bodyPr>
          <a:lstStyle>
            <a:lvl1pPr algn="l"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Text</a:t>
            </a:r>
            <a:br>
              <a:rPr lang="en-US"/>
            </a:br>
            <a:r>
              <a:rPr lang="en-US"/>
              <a:t>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6723159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CF4903-B80D-476D-8DF0-7685039DBB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7009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1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CF4903-B80D-476D-8DF0-7685039DBB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B91E6428-78DF-4252-B17D-6C8B188E5A0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03937" y="0"/>
            <a:ext cx="6088063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1398C213-0DAB-4AE4-BA6E-53CD1D9DA69D}"/>
              </a:ext>
            </a:extLst>
          </p:cNvPr>
          <p:cNvSpPr/>
          <p:nvPr userDrawn="1"/>
        </p:nvSpPr>
        <p:spPr>
          <a:xfrm>
            <a:off x="11725201" y="6389370"/>
            <a:ext cx="324000" cy="324000"/>
          </a:xfrm>
          <a:prstGeom prst="ellipse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lvl="0" algn="ctr"/>
            <a:fld id="{2BE5444B-4271-492E-9574-164FD80BD889}" type="slidenum">
              <a:rPr lang="en-US" sz="900" smtClean="0">
                <a:solidFill>
                  <a:schemeClr val="bg1"/>
                </a:solidFill>
              </a:rPr>
              <a:pPr lvl="0" algn="ctr"/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E700AE9-8A09-414A-81E0-5EEE82EF5A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1" y="1428984"/>
            <a:ext cx="5540414" cy="1218795"/>
          </a:xfrm>
        </p:spPr>
        <p:txBody>
          <a:bodyPr vert="horz" wrap="square" lIns="0" tIns="0" rIns="0" bIns="0" anchor="t">
            <a:spAutoFit/>
          </a:bodyPr>
          <a:lstStyle>
            <a:lvl1pPr algn="r"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Text</a:t>
            </a:r>
            <a:br>
              <a:rPr lang="en-US"/>
            </a:br>
            <a:r>
              <a:rPr lang="en-US"/>
              <a:t>Here</a:t>
            </a:r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76966A1-3EC0-48D7-ACD2-C08069129F7B}"/>
              </a:ext>
            </a:extLst>
          </p:cNvPr>
          <p:cNvSpPr/>
          <p:nvPr userDrawn="1"/>
        </p:nvSpPr>
        <p:spPr>
          <a:xfrm>
            <a:off x="6052504" y="1428984"/>
            <a:ext cx="71120" cy="1218795"/>
          </a:xfrm>
          <a:prstGeom prst="rect">
            <a:avLst/>
          </a:prstGeom>
          <a:solidFill>
            <a:schemeClr val="accent2"/>
          </a:solidFill>
          <a:ln w="381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5448487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CF4903-B80D-476D-8DF0-7685039DBB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7781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5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CF4903-B80D-476D-8DF0-7685039DBB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B91E6428-78DF-4252-B17D-6C8B188E5A0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2000" cy="2222339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7B31DD03-DA4D-427D-81D5-612C0A11BC5B}"/>
              </a:ext>
            </a:extLst>
          </p:cNvPr>
          <p:cNvSpPr/>
          <p:nvPr userDrawn="1"/>
        </p:nvSpPr>
        <p:spPr>
          <a:xfrm>
            <a:off x="11725201" y="6389370"/>
            <a:ext cx="324000" cy="324000"/>
          </a:xfrm>
          <a:prstGeom prst="ellipse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lvl="0" algn="ctr"/>
            <a:fld id="{2BE5444B-4271-492E-9574-164FD80BD889}" type="slidenum">
              <a:rPr lang="en-US" sz="900" smtClean="0">
                <a:solidFill>
                  <a:schemeClr val="bg1"/>
                </a:solidFill>
              </a:rPr>
              <a:pPr lvl="0" algn="ctr"/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55CE42F-CF9F-454C-BF84-C774EBD0F7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1" y="2386829"/>
            <a:ext cx="11582400" cy="498598"/>
          </a:xfrm>
        </p:spPr>
        <p:txBody>
          <a:bodyPr vert="horz" wrap="square" lIns="0" tIns="0" rIns="0" bIns="0" anchor="t">
            <a:spAutoFit/>
          </a:bodyPr>
          <a:lstStyle>
            <a:lvl1pPr algn="l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Text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0719742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5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171E6EB-AF1C-4BF1-9280-718377CE93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77638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9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171E6EB-AF1C-4BF1-9280-718377CE93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32">
            <a:extLst>
              <a:ext uri="{FF2B5EF4-FFF2-40B4-BE49-F238E27FC236}">
                <a16:creationId xmlns:a16="http://schemas.microsoft.com/office/drawing/2014/main" id="{A44E3F0C-A893-435D-97E0-7B8E4C9E1FE2}"/>
              </a:ext>
            </a:extLst>
          </p:cNvPr>
          <p:cNvSpPr>
            <a:spLocks/>
          </p:cNvSpPr>
          <p:nvPr userDrawn="1"/>
        </p:nvSpPr>
        <p:spPr bwMode="auto">
          <a:xfrm>
            <a:off x="4736898" y="0"/>
            <a:ext cx="7455102" cy="5289630"/>
          </a:xfrm>
          <a:custGeom>
            <a:avLst/>
            <a:gdLst>
              <a:gd name="T0" fmla="*/ 297 w 1043"/>
              <a:gd name="T1" fmla="*/ 114 h 507"/>
              <a:gd name="T2" fmla="*/ 763 w 1043"/>
              <a:gd name="T3" fmla="*/ 384 h 507"/>
              <a:gd name="T4" fmla="*/ 1043 w 1043"/>
              <a:gd name="T5" fmla="*/ 0 h 507"/>
              <a:gd name="T6" fmla="*/ 0 w 1043"/>
              <a:gd name="T7" fmla="*/ 0 h 507"/>
              <a:gd name="T8" fmla="*/ 297 w 1043"/>
              <a:gd name="T9" fmla="*/ 114 h 5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43" h="507">
                <a:moveTo>
                  <a:pt x="297" y="114"/>
                </a:moveTo>
                <a:cubicBezTo>
                  <a:pt x="519" y="72"/>
                  <a:pt x="416" y="507"/>
                  <a:pt x="763" y="384"/>
                </a:cubicBezTo>
                <a:cubicBezTo>
                  <a:pt x="971" y="311"/>
                  <a:pt x="1030" y="132"/>
                  <a:pt x="1043" y="0"/>
                </a:cubicBezTo>
                <a:cubicBezTo>
                  <a:pt x="0" y="0"/>
                  <a:pt x="0" y="0"/>
                  <a:pt x="0" y="0"/>
                </a:cubicBezTo>
                <a:cubicBezTo>
                  <a:pt x="43" y="85"/>
                  <a:pt x="187" y="134"/>
                  <a:pt x="297" y="11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F28D1BFB-6FBE-4059-A673-F72266E2572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86085" y="931717"/>
            <a:ext cx="2348190" cy="5289630"/>
          </a:xfrm>
          <a:prstGeom prst="roundRect">
            <a:avLst/>
          </a:pr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endParaRPr lang="id-ID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DD15E040-F949-4231-8D54-CAE288698A7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746807" y="2026227"/>
            <a:ext cx="2348190" cy="5289630"/>
          </a:xfrm>
          <a:prstGeom prst="roundRect">
            <a:avLst/>
          </a:pr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endParaRPr lang="id-ID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3C4B376-170A-45BF-B335-7800EEEE4B1E}"/>
              </a:ext>
            </a:extLst>
          </p:cNvPr>
          <p:cNvSpPr/>
          <p:nvPr userDrawn="1"/>
        </p:nvSpPr>
        <p:spPr>
          <a:xfrm>
            <a:off x="11725201" y="6389370"/>
            <a:ext cx="324000" cy="324000"/>
          </a:xfrm>
          <a:prstGeom prst="ellipse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lvl="0" algn="ctr"/>
            <a:fld id="{2BE5444B-4271-492E-9574-164FD80BD889}" type="slidenum">
              <a:rPr lang="en-US" sz="900" smtClean="0">
                <a:solidFill>
                  <a:schemeClr val="bg1"/>
                </a:solidFill>
              </a:rPr>
              <a:pPr lvl="0" algn="ctr"/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02CB073-1526-486A-8F95-24A60BD83D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272" y="931717"/>
            <a:ext cx="4432097" cy="498598"/>
          </a:xfrm>
        </p:spPr>
        <p:txBody>
          <a:bodyPr vert="horz" wrap="square" lIns="0" tIns="0" rIns="0" bIns="0" anchor="t">
            <a:spAutoFit/>
          </a:bodyPr>
          <a:lstStyle>
            <a:lvl1pPr algn="l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Text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0628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DB8020C-6C50-42D0-915C-1508D341DF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2919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3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DB8020C-6C50-42D0-915C-1508D341DF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Oval 9">
            <a:extLst>
              <a:ext uri="{FF2B5EF4-FFF2-40B4-BE49-F238E27FC236}">
                <a16:creationId xmlns:a16="http://schemas.microsoft.com/office/drawing/2014/main" id="{ACF8133F-34CC-4A45-8147-61C1F4AD0B55}"/>
              </a:ext>
            </a:extLst>
          </p:cNvPr>
          <p:cNvSpPr/>
          <p:nvPr userDrawn="1"/>
        </p:nvSpPr>
        <p:spPr>
          <a:xfrm>
            <a:off x="11725201" y="6389370"/>
            <a:ext cx="324000" cy="324000"/>
          </a:xfrm>
          <a:prstGeom prst="ellipse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lvl="0" algn="ctr"/>
            <a:fld id="{2BE5444B-4271-492E-9574-164FD80BD889}" type="slidenum">
              <a:rPr lang="en-US" sz="900" smtClean="0">
                <a:solidFill>
                  <a:schemeClr val="bg1"/>
                </a:solidFill>
              </a:rPr>
              <a:pPr lvl="0" algn="ctr"/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66792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596BDA2-3C73-4824-A6BB-C4C3181D01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1500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7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596BDA2-3C73-4824-A6BB-C4C3181D01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4381F50-0629-44C9-9656-5A2C821E90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586F0E8-621F-4A98-81C9-001FAD7A5EE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F8260B-27FC-441F-A935-28FB3C4610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A4F5DF-7D14-43CB-9667-84CE429FEE22}" type="datetimeFigureOut">
              <a:rPr lang="en-US" smtClean="0"/>
              <a:t>4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EFA573-B146-4769-B6F9-AD985F2D91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5B5311-A971-4921-A981-128031E69A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4747C-DA70-451F-8004-9291E62110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44243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C92025E-0274-49EB-BDD2-07D796573A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7777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1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C92025E-0274-49EB-BDD2-07D796573A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>
            <a:extLst>
              <a:ext uri="{FF2B5EF4-FFF2-40B4-BE49-F238E27FC236}">
                <a16:creationId xmlns:a16="http://schemas.microsoft.com/office/drawing/2014/main" id="{5F2A1F4D-A529-400A-B26A-E8CEA1E5B13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3EA25BF-FF6B-4793-AC31-CB97BB3AE94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B1E0F6-F9BC-4481-B318-F5FC55D3C2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A4F5DF-7D14-43CB-9667-84CE429FEE22}" type="datetimeFigureOut">
              <a:rPr lang="en-US" smtClean="0"/>
              <a:t>4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D8417E-28F9-4AE5-9AA2-43BF637DAD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B2A290-37D9-4EF0-BDED-B424508519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4747C-DA70-451F-8004-9291E62110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58634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B4EA199-BC0D-41CE-B24B-49A92CE280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908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B4EA199-BC0D-41CE-B24B-49A92CE280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1247902-D5DB-4482-B816-10AAA0E90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32352" y="2334757"/>
            <a:ext cx="6004048" cy="1754326"/>
          </a:xfrm>
        </p:spPr>
        <p:txBody>
          <a:bodyPr vert="horz" wrap="square" anchor="b">
            <a:spAutoFit/>
          </a:bodyPr>
          <a:lstStyle>
            <a:lvl1pPr algn="l">
              <a:defRPr sz="6000">
                <a:solidFill>
                  <a:srgbClr val="0090B9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EAD8F35-DDEC-460C-9FB0-6EEDDC74494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32352" y="4181158"/>
            <a:ext cx="6004048" cy="424732"/>
          </a:xfrm>
        </p:spPr>
        <p:txBody>
          <a:bodyPr wrap="square">
            <a:spAutoFit/>
          </a:bodyPr>
          <a:lstStyle>
            <a:lvl1pPr marL="0" indent="0" algn="l">
              <a:buNone/>
              <a:defRPr sz="2400">
                <a:solidFill>
                  <a:srgbClr val="26B068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114EA2C-BE92-463C-8262-6CE9BEDF4E6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860" y="171194"/>
            <a:ext cx="2705112" cy="1132844"/>
          </a:xfrm>
          <a:prstGeom prst="rect">
            <a:avLst/>
          </a:prstGeom>
        </p:spPr>
      </p:pic>
      <p:sp>
        <p:nvSpPr>
          <p:cNvPr id="15" name="Picture Placeholder 5">
            <a:extLst>
              <a:ext uri="{FF2B5EF4-FFF2-40B4-BE49-F238E27FC236}">
                <a16:creationId xmlns:a16="http://schemas.microsoft.com/office/drawing/2014/main" id="{05D0F971-7EEE-4DFC-8021-14BC509E046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444752" y="1408176"/>
            <a:ext cx="4041647" cy="4041647"/>
          </a:xfrm>
          <a:custGeom>
            <a:avLst/>
            <a:gdLst>
              <a:gd name="connsiteX0" fmla="*/ 2020824 w 4041647"/>
              <a:gd name="connsiteY0" fmla="*/ 0 h 4041647"/>
              <a:gd name="connsiteX1" fmla="*/ 4041647 w 4041647"/>
              <a:gd name="connsiteY1" fmla="*/ 2020824 h 4041647"/>
              <a:gd name="connsiteX2" fmla="*/ 2020824 w 4041647"/>
              <a:gd name="connsiteY2" fmla="*/ 4041647 h 4041647"/>
              <a:gd name="connsiteX3" fmla="*/ 0 w 4041647"/>
              <a:gd name="connsiteY3" fmla="*/ 2020824 h 4041647"/>
              <a:gd name="connsiteX4" fmla="*/ 2020824 w 4041647"/>
              <a:gd name="connsiteY4" fmla="*/ 0 h 404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41647" h="4041647">
                <a:moveTo>
                  <a:pt x="2020824" y="0"/>
                </a:moveTo>
                <a:cubicBezTo>
                  <a:pt x="3136894" y="0"/>
                  <a:pt x="4041647" y="904753"/>
                  <a:pt x="4041647" y="2020824"/>
                </a:cubicBezTo>
                <a:cubicBezTo>
                  <a:pt x="4041647" y="3136894"/>
                  <a:pt x="3136894" y="4041647"/>
                  <a:pt x="2020824" y="4041647"/>
                </a:cubicBezTo>
                <a:cubicBezTo>
                  <a:pt x="904753" y="4041647"/>
                  <a:pt x="0" y="3136894"/>
                  <a:pt x="0" y="2020824"/>
                </a:cubicBezTo>
                <a:cubicBezTo>
                  <a:pt x="0" y="904753"/>
                  <a:pt x="904753" y="0"/>
                  <a:pt x="202082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58377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959345C-ECC3-4BAC-852D-E3E05CC43C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BDCE9D-FFCF-4A53-ACD3-A9B3EEB26DAD}" type="datetimeFigureOut">
              <a:rPr lang="en-GB" smtClean="0"/>
              <a:t>13/04/2023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79F3FFC-627C-45B2-BAAF-AA19BD3D8C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5F2052-468E-4EE4-B90F-12B7720A8D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FFA5C1-780C-4410-BC27-020CA231D48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801942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v4 2803 AS Powerpoint template5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170" b="24082"/>
          <a:stretch/>
        </p:blipFill>
        <p:spPr>
          <a:xfrm>
            <a:off x="1524000" y="4289615"/>
            <a:ext cx="9144000" cy="73712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2148553"/>
            <a:ext cx="10363200" cy="1079305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4000" i="0" baseline="0">
                <a:solidFill>
                  <a:srgbClr val="59777D"/>
                </a:solidFill>
              </a:defRPr>
            </a:lvl1pPr>
          </a:lstStyle>
          <a:p>
            <a:pPr algn="ctr"/>
            <a:r>
              <a:rPr lang="en-GB" sz="4100" dirty="0">
                <a:solidFill>
                  <a:srgbClr val="64858B"/>
                </a:solidFill>
                <a:latin typeface="+mj-lt"/>
                <a:cs typeface="Calibri"/>
              </a:rPr>
              <a:t>Mai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28800" y="3243473"/>
            <a:ext cx="8534400" cy="8057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rgbClr val="59777D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ctr"/>
            <a:r>
              <a:rPr lang="en-GB" sz="2800" dirty="0">
                <a:solidFill>
                  <a:srgbClr val="64858B"/>
                </a:solidFill>
                <a:latin typeface="+mn-lt"/>
                <a:cs typeface="Calibri"/>
              </a:rPr>
              <a:t>Secondary Title</a:t>
            </a:r>
          </a:p>
        </p:txBody>
      </p:sp>
      <p:pic>
        <p:nvPicPr>
          <p:cNvPr id="4" name="Picture 3" descr="v4 2803 AS Powerpoint template.jp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30" t="76757" r="230" b="2143"/>
          <a:stretch/>
        </p:blipFill>
        <p:spPr>
          <a:xfrm>
            <a:off x="0" y="4947424"/>
            <a:ext cx="12191361" cy="1929237"/>
          </a:xfrm>
          <a:prstGeom prst="rect">
            <a:avLst/>
          </a:prstGeom>
        </p:spPr>
      </p:pic>
      <p:pic>
        <p:nvPicPr>
          <p:cNvPr id="5" name="Picture 4" descr="v4 2803 AS Powerpoint template.jp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73" t="11100" r="34831" b="66995"/>
          <a:stretch/>
        </p:blipFill>
        <p:spPr>
          <a:xfrm>
            <a:off x="4400978" y="326572"/>
            <a:ext cx="3390045" cy="1869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613074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0" y="-1"/>
            <a:ext cx="12192000" cy="1129005"/>
            <a:chOff x="0" y="-1"/>
            <a:chExt cx="12192000" cy="1129005"/>
          </a:xfrm>
        </p:grpSpPr>
        <p:sp>
          <p:nvSpPr>
            <p:cNvPr id="7" name="Rectangle 6"/>
            <p:cNvSpPr/>
            <p:nvPr userDrawn="1"/>
          </p:nvSpPr>
          <p:spPr>
            <a:xfrm>
              <a:off x="0" y="0"/>
              <a:ext cx="10045960" cy="1129004"/>
            </a:xfrm>
            <a:prstGeom prst="rect">
              <a:avLst/>
            </a:prstGeom>
            <a:solidFill>
              <a:srgbClr val="D1DA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0" name="Picture 9" descr="v4 2803 AS Powerpoint template3.jpg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6531" b="83537"/>
            <a:stretch/>
          </p:blipFill>
          <p:spPr>
            <a:xfrm>
              <a:off x="10045959" y="-1"/>
              <a:ext cx="2146041" cy="1129005"/>
            </a:xfrm>
            <a:prstGeom prst="rect">
              <a:avLst/>
            </a:prstGeom>
          </p:spPr>
        </p:pic>
      </p:grp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73698" y="134679"/>
            <a:ext cx="9486122" cy="8552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46979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777D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2" name="Picture 11" descr="v4 2803 AS Powerpoint template5.jp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170" b="24082"/>
          <a:stretch/>
        </p:blipFill>
        <p:spPr>
          <a:xfrm>
            <a:off x="3142863" y="6381881"/>
            <a:ext cx="5906275" cy="476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98860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v4 2803 AS Powerpoint template5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170" b="24082"/>
          <a:stretch/>
        </p:blipFill>
        <p:spPr>
          <a:xfrm>
            <a:off x="3142863" y="6381881"/>
            <a:ext cx="5906275" cy="476119"/>
          </a:xfrm>
          <a:prstGeom prst="rect">
            <a:avLst/>
          </a:prstGeom>
        </p:spPr>
      </p:pic>
      <p:pic>
        <p:nvPicPr>
          <p:cNvPr id="12" name="Picture 11" descr="v4 2803 AS Powerpoint template.jp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73" t="11100" r="34831" b="66995"/>
          <a:stretch/>
        </p:blipFill>
        <p:spPr>
          <a:xfrm>
            <a:off x="10412963" y="177284"/>
            <a:ext cx="1483567" cy="817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374244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v4 2803 AS Powerpoint template5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170" b="24082"/>
          <a:stretch/>
        </p:blipFill>
        <p:spPr>
          <a:xfrm>
            <a:off x="1524000" y="4289615"/>
            <a:ext cx="9144000" cy="737120"/>
          </a:xfrm>
          <a:prstGeom prst="rect">
            <a:avLst/>
          </a:prstGeom>
        </p:spPr>
      </p:pic>
      <p:pic>
        <p:nvPicPr>
          <p:cNvPr id="4" name="Picture 3" descr="v4 2803 AS Powerpoint template.jp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30" t="76757" r="230" b="2143"/>
          <a:stretch/>
        </p:blipFill>
        <p:spPr>
          <a:xfrm>
            <a:off x="0" y="4947424"/>
            <a:ext cx="12191361" cy="1929237"/>
          </a:xfrm>
          <a:prstGeom prst="rect">
            <a:avLst/>
          </a:prstGeom>
        </p:spPr>
      </p:pic>
      <p:pic>
        <p:nvPicPr>
          <p:cNvPr id="5" name="Picture 4" descr="v4 2803 AS Powerpoint template.jp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73" t="11100" r="34831" b="66995"/>
          <a:stretch/>
        </p:blipFill>
        <p:spPr>
          <a:xfrm>
            <a:off x="4400978" y="326572"/>
            <a:ext cx="3390045" cy="1869169"/>
          </a:xfrm>
          <a:prstGeom prst="rect">
            <a:avLst/>
          </a:prstGeom>
        </p:spPr>
      </p:pic>
      <p:grpSp>
        <p:nvGrpSpPr>
          <p:cNvPr id="2" name="Group 1"/>
          <p:cNvGrpSpPr/>
          <p:nvPr userDrawn="1"/>
        </p:nvGrpSpPr>
        <p:grpSpPr>
          <a:xfrm>
            <a:off x="3919401" y="2695571"/>
            <a:ext cx="4353198" cy="1263576"/>
            <a:chOff x="2644496" y="2695571"/>
            <a:chExt cx="4353198" cy="1263576"/>
          </a:xfrm>
        </p:grpSpPr>
        <p:pic>
          <p:nvPicPr>
            <p:cNvPr id="6" name="Picture 5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2657196" y="2758222"/>
              <a:ext cx="292100" cy="292100"/>
            </a:xfrm>
            <a:prstGeom prst="rect">
              <a:avLst/>
            </a:prstGeom>
          </p:spPr>
        </p:pic>
        <p:pic>
          <p:nvPicPr>
            <p:cNvPr id="8" name="Picture 7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2644496" y="3217764"/>
              <a:ext cx="317500" cy="254000"/>
            </a:xfrm>
            <a:prstGeom prst="rect">
              <a:avLst/>
            </a:prstGeom>
          </p:spPr>
        </p:pic>
        <p:pic>
          <p:nvPicPr>
            <p:cNvPr id="9" name="Picture 8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2657196" y="3639467"/>
              <a:ext cx="304800" cy="304800"/>
            </a:xfrm>
            <a:prstGeom prst="rect">
              <a:avLst/>
            </a:prstGeom>
          </p:spPr>
        </p:pic>
        <p:sp>
          <p:nvSpPr>
            <p:cNvPr id="10" name="TextBox 9"/>
            <p:cNvSpPr txBox="1"/>
            <p:nvPr userDrawn="1"/>
          </p:nvSpPr>
          <p:spPr>
            <a:xfrm>
              <a:off x="3090638" y="2695571"/>
              <a:ext cx="390705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2000" dirty="0">
                  <a:solidFill>
                    <a:srgbClr val="59777D"/>
                  </a:solidFill>
                </a:rPr>
                <a:t>adaptationscotland@sniffer.org.uk</a:t>
              </a:r>
            </a:p>
          </p:txBody>
        </p:sp>
        <p:sp>
          <p:nvSpPr>
            <p:cNvPr id="11" name="TextBox 10"/>
            <p:cNvSpPr txBox="1"/>
            <p:nvPr userDrawn="1"/>
          </p:nvSpPr>
          <p:spPr>
            <a:xfrm>
              <a:off x="3090638" y="3133524"/>
              <a:ext cx="390705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2000" dirty="0">
                  <a:solidFill>
                    <a:srgbClr val="59777D"/>
                  </a:solidFill>
                </a:rPr>
                <a:t>@adaptationscotland</a:t>
              </a:r>
            </a:p>
          </p:txBody>
        </p:sp>
        <p:sp>
          <p:nvSpPr>
            <p:cNvPr id="12" name="TextBox 11"/>
            <p:cNvSpPr txBox="1"/>
            <p:nvPr userDrawn="1"/>
          </p:nvSpPr>
          <p:spPr>
            <a:xfrm>
              <a:off x="3090638" y="3559037"/>
              <a:ext cx="390705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2000" dirty="0">
                  <a:solidFill>
                    <a:srgbClr val="59777D"/>
                  </a:solidFill>
                </a:rPr>
                <a:t>www.adaptationscotland.org.uk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032424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rgbClr val="0090B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B4EA199-BC0D-41CE-B24B-49A92CE280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4773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B4EA199-BC0D-41CE-B24B-49A92CE280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1247902-D5DB-4482-B816-10AAA0E90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58112" y="3513317"/>
            <a:ext cx="6004048" cy="1754326"/>
          </a:xfrm>
        </p:spPr>
        <p:txBody>
          <a:bodyPr vert="horz" wrap="square" anchor="b">
            <a:sp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EAD8F35-DDEC-460C-9FB0-6EEDDC74494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58112" y="5359718"/>
            <a:ext cx="6004048" cy="424732"/>
          </a:xfrm>
        </p:spPr>
        <p:txBody>
          <a:bodyPr wrap="square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114EA2C-BE92-463C-8262-6CE9BEDF4E6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1820" y="841754"/>
            <a:ext cx="2705112" cy="1132844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0AB72B5-BAD3-4B3F-A678-BECF151A58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12192000" cy="6705600"/>
          </a:xfrm>
          <a:custGeom>
            <a:avLst/>
            <a:gdLst>
              <a:gd name="connsiteX0" fmla="*/ 0 w 12192000"/>
              <a:gd name="connsiteY0" fmla="*/ 0 h 6705600"/>
              <a:gd name="connsiteX1" fmla="*/ 12192000 w 12192000"/>
              <a:gd name="connsiteY1" fmla="*/ 0 h 6705600"/>
              <a:gd name="connsiteX2" fmla="*/ 12192000 w 12192000"/>
              <a:gd name="connsiteY2" fmla="*/ 1409788 h 6705600"/>
              <a:gd name="connsiteX3" fmla="*/ 12101679 w 12192000"/>
              <a:gd name="connsiteY3" fmla="*/ 1493419 h 6705600"/>
              <a:gd name="connsiteX4" fmla="*/ 10944499 w 12192000"/>
              <a:gd name="connsiteY4" fmla="*/ 2829593 h 6705600"/>
              <a:gd name="connsiteX5" fmla="*/ 8968146 w 12192000"/>
              <a:gd name="connsiteY5" fmla="*/ 2975613 h 6705600"/>
              <a:gd name="connsiteX6" fmla="*/ 7261292 w 12192000"/>
              <a:gd name="connsiteY6" fmla="*/ 1671870 h 6705600"/>
              <a:gd name="connsiteX7" fmla="*/ 6901955 w 12192000"/>
              <a:gd name="connsiteY7" fmla="*/ 1463270 h 6705600"/>
              <a:gd name="connsiteX8" fmla="*/ 6246164 w 12192000"/>
              <a:gd name="connsiteY8" fmla="*/ 2297666 h 6705600"/>
              <a:gd name="connsiteX9" fmla="*/ 5105269 w 12192000"/>
              <a:gd name="connsiteY9" fmla="*/ 2182937 h 6705600"/>
              <a:gd name="connsiteX10" fmla="*/ 3631986 w 12192000"/>
              <a:gd name="connsiteY10" fmla="*/ 2714864 h 6705600"/>
              <a:gd name="connsiteX11" fmla="*/ 2850426 w 12192000"/>
              <a:gd name="connsiteY11" fmla="*/ 4321075 h 6705600"/>
              <a:gd name="connsiteX12" fmla="*/ 2571940 w 12192000"/>
              <a:gd name="connsiteY12" fmla="*/ 5145041 h 6705600"/>
              <a:gd name="connsiteX13" fmla="*/ 1161541 w 12192000"/>
              <a:gd name="connsiteY13" fmla="*/ 5927288 h 6705600"/>
              <a:gd name="connsiteX14" fmla="*/ 36804 w 12192000"/>
              <a:gd name="connsiteY14" fmla="*/ 6637376 h 6705600"/>
              <a:gd name="connsiteX15" fmla="*/ 0 w 12192000"/>
              <a:gd name="connsiteY15" fmla="*/ 6705600 h 670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2000" h="6705600">
                <a:moveTo>
                  <a:pt x="0" y="0"/>
                </a:moveTo>
                <a:lnTo>
                  <a:pt x="12192000" y="0"/>
                </a:lnTo>
                <a:lnTo>
                  <a:pt x="12192000" y="1409788"/>
                </a:lnTo>
                <a:lnTo>
                  <a:pt x="12101679" y="1493419"/>
                </a:lnTo>
                <a:cubicBezTo>
                  <a:pt x="11695740" y="1894809"/>
                  <a:pt x="11395917" y="2485405"/>
                  <a:pt x="10944499" y="2829593"/>
                </a:cubicBezTo>
                <a:cubicBezTo>
                  <a:pt x="10369560" y="3257221"/>
                  <a:pt x="9614951" y="3246792"/>
                  <a:pt x="8968146" y="2975613"/>
                </a:cubicBezTo>
                <a:cubicBezTo>
                  <a:pt x="8330322" y="2694004"/>
                  <a:pt x="7782330" y="2193366"/>
                  <a:pt x="7261292" y="1671870"/>
                </a:cubicBezTo>
                <a:cubicBezTo>
                  <a:pt x="7162474" y="1567569"/>
                  <a:pt x="7045691" y="1463270"/>
                  <a:pt x="6901955" y="1463270"/>
                </a:cubicBezTo>
                <a:cubicBezTo>
                  <a:pt x="6569567" y="1463270"/>
                  <a:pt x="6515668" y="2057777"/>
                  <a:pt x="6246164" y="2297666"/>
                </a:cubicBezTo>
                <a:cubicBezTo>
                  <a:pt x="5931745" y="2579275"/>
                  <a:pt x="5491555" y="2287235"/>
                  <a:pt x="5105269" y="2182937"/>
                </a:cubicBezTo>
                <a:cubicBezTo>
                  <a:pt x="4584230" y="2036917"/>
                  <a:pt x="4018272" y="2287235"/>
                  <a:pt x="3631986" y="2714864"/>
                </a:cubicBezTo>
                <a:cubicBezTo>
                  <a:pt x="3245698" y="3142491"/>
                  <a:pt x="3003145" y="3726568"/>
                  <a:pt x="2850426" y="4321075"/>
                </a:cubicBezTo>
                <a:cubicBezTo>
                  <a:pt x="2778558" y="4602684"/>
                  <a:pt x="2724659" y="4894723"/>
                  <a:pt x="2571940" y="5145041"/>
                </a:cubicBezTo>
                <a:cubicBezTo>
                  <a:pt x="2266503" y="5656109"/>
                  <a:pt x="1682580" y="5781268"/>
                  <a:pt x="1161541" y="5927288"/>
                </a:cubicBezTo>
                <a:cubicBezTo>
                  <a:pt x="738196" y="6045929"/>
                  <a:pt x="273338" y="6247194"/>
                  <a:pt x="36804" y="6637376"/>
                </a:cubicBezTo>
                <a:lnTo>
                  <a:pt x="0" y="6705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l">
              <a:buNone/>
              <a:defRPr/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6282218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5A0DE52-639B-4938-8370-27B113A9EF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47219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5A0DE52-639B-4938-8370-27B113A9EF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2FCDAE62-A8AF-4A45-82F1-F4532F554133}"/>
              </a:ext>
            </a:extLst>
          </p:cNvPr>
          <p:cNvSpPr/>
          <p:nvPr userDrawn="1"/>
        </p:nvSpPr>
        <p:spPr>
          <a:xfrm>
            <a:off x="0" y="0"/>
            <a:ext cx="12192000" cy="45719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6D77E70-223B-4902-9CB8-0AF37D67A9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1" y="257087"/>
            <a:ext cx="11582400" cy="498598"/>
          </a:xfrm>
        </p:spPr>
        <p:txBody>
          <a:bodyPr vert="horz" wrap="square" lIns="0" tIns="0" rIns="0" bIns="0" anchor="t">
            <a:spAutoFit/>
          </a:bodyPr>
          <a:lstStyle>
            <a:lvl1pPr algn="l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Text Here</a:t>
            </a:r>
            <a:endParaRPr lang="en-GB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904B001-EB6C-4ECD-8D01-2777B2758392}"/>
              </a:ext>
            </a:extLst>
          </p:cNvPr>
          <p:cNvSpPr/>
          <p:nvPr userDrawn="1"/>
        </p:nvSpPr>
        <p:spPr>
          <a:xfrm>
            <a:off x="11725201" y="6389370"/>
            <a:ext cx="324000" cy="324000"/>
          </a:xfrm>
          <a:prstGeom prst="ellipse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lvl="0" algn="ctr"/>
            <a:fld id="{2BE5444B-4271-492E-9574-164FD80BD889}" type="slidenum">
              <a:rPr lang="en-US" sz="900" smtClean="0">
                <a:solidFill>
                  <a:schemeClr val="bg1"/>
                </a:solidFill>
              </a:rPr>
              <a:pPr lvl="0" algn="ctr"/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2862AA4E-A07A-4A96-B1AC-E5BC59CB47F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6601" y="257088"/>
            <a:ext cx="1190600" cy="498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11784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E2C88BA-4736-4828-9808-FCA54593AF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2465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E2C88BA-4736-4828-9808-FCA54593AF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B57AF70B-7F88-467B-8A33-C11AEF0367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8649" y="2544219"/>
            <a:ext cx="5406407" cy="3277846"/>
          </a:xfrm>
        </p:spPr>
        <p:txBody>
          <a:bodyPr>
            <a:normAutofit/>
          </a:bodyPr>
          <a:lstStyle>
            <a:lvl1pPr>
              <a:defRPr sz="1800"/>
            </a:lvl1pPr>
            <a:lvl2pPr marL="549275" indent="-285750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3912" indent="-285750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538163" lvl="1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entury Gothic" panose="020B0502020202020204" pitchFamily="34" charset="0"/>
              <a:buChar char="–"/>
              <a:tabLst/>
            </a:pPr>
            <a:r>
              <a:rPr lang="en-US"/>
              <a:t>Second level</a:t>
            </a:r>
          </a:p>
          <a:p>
            <a:pPr marL="803275" lvl="2" indent="-2651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FFF02CC-7FB0-4D25-AEDD-838670710DF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56943" y="2544219"/>
            <a:ext cx="5406407" cy="3277846"/>
          </a:xfrm>
        </p:spPr>
        <p:txBody>
          <a:bodyPr>
            <a:normAutofit/>
          </a:bodyPr>
          <a:lstStyle>
            <a:lvl1pPr>
              <a:defRPr sz="1800"/>
            </a:lvl1pPr>
            <a:lvl2pPr marL="549275" indent="-285750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3912" indent="-285750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538163" lvl="1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entury Gothic" panose="020B0502020202020204" pitchFamily="34" charset="0"/>
              <a:buChar char="–"/>
              <a:tabLst/>
            </a:pPr>
            <a:r>
              <a:rPr lang="en-US"/>
              <a:t>Second level</a:t>
            </a:r>
          </a:p>
          <a:p>
            <a:pPr marL="803275" lvl="2" indent="-2651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5008BF6D-DF0C-4195-A085-2F5E63A614A0}"/>
              </a:ext>
            </a:extLst>
          </p:cNvPr>
          <p:cNvSpPr/>
          <p:nvPr userDrawn="1"/>
        </p:nvSpPr>
        <p:spPr>
          <a:xfrm>
            <a:off x="11725201" y="6389370"/>
            <a:ext cx="324000" cy="324000"/>
          </a:xfrm>
          <a:prstGeom prst="ellipse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lvl="0" algn="ctr"/>
            <a:fld id="{2BE5444B-4271-492E-9574-164FD80BD889}" type="slidenum">
              <a:rPr lang="en-US" sz="900" smtClean="0">
                <a:solidFill>
                  <a:schemeClr val="bg1"/>
                </a:solidFill>
              </a:rPr>
              <a:pPr lvl="0" algn="ctr"/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8099F2B-DB2D-4AB9-A1FD-A1EDE1B1006C}"/>
              </a:ext>
            </a:extLst>
          </p:cNvPr>
          <p:cNvSpPr/>
          <p:nvPr userDrawn="1"/>
        </p:nvSpPr>
        <p:spPr>
          <a:xfrm>
            <a:off x="0" y="0"/>
            <a:ext cx="12192000" cy="45719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255015C-5BC8-4639-B74C-295653A1828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6601" y="257088"/>
            <a:ext cx="1190600" cy="498598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547CAC2A-99C0-4805-BFE0-5D4ADFBEC9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1" y="257087"/>
            <a:ext cx="11582400" cy="498598"/>
          </a:xfrm>
        </p:spPr>
        <p:txBody>
          <a:bodyPr vert="horz" wrap="square" lIns="0" tIns="0" rIns="0" bIns="0" anchor="t">
            <a:spAutoFit/>
          </a:bodyPr>
          <a:lstStyle>
            <a:lvl1pPr algn="l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Text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64539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E2C88BA-4736-4828-9808-FCA54593AF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0951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E2C88BA-4736-4828-9808-FCA54593AF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22">
            <a:extLst>
              <a:ext uri="{FF2B5EF4-FFF2-40B4-BE49-F238E27FC236}">
                <a16:creationId xmlns:a16="http://schemas.microsoft.com/office/drawing/2014/main" id="{080E3DDE-6E2C-43F5-959E-632D4AA207F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8649" y="2544219"/>
            <a:ext cx="3512197" cy="3277846"/>
          </a:xfrm>
        </p:spPr>
        <p:txBody>
          <a:bodyPr>
            <a:normAutofit/>
          </a:bodyPr>
          <a:lstStyle>
            <a:lvl1pPr>
              <a:defRPr sz="1800"/>
            </a:lvl1pPr>
            <a:lvl2pPr marL="549275" indent="-285750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3912" indent="-285750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538163" lvl="1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entury Gothic" panose="020B0502020202020204" pitchFamily="34" charset="0"/>
              <a:buChar char="–"/>
              <a:tabLst/>
            </a:pPr>
            <a:r>
              <a:rPr lang="en-US"/>
              <a:t>Second level</a:t>
            </a:r>
          </a:p>
          <a:p>
            <a:pPr marL="803275" lvl="2" indent="-2651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5008BF6D-DF0C-4195-A085-2F5E63A614A0}"/>
              </a:ext>
            </a:extLst>
          </p:cNvPr>
          <p:cNvSpPr/>
          <p:nvPr userDrawn="1"/>
        </p:nvSpPr>
        <p:spPr>
          <a:xfrm>
            <a:off x="11725201" y="6389370"/>
            <a:ext cx="324000" cy="324000"/>
          </a:xfrm>
          <a:prstGeom prst="ellipse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lvl="0" algn="ctr"/>
            <a:fld id="{2BE5444B-4271-492E-9574-164FD80BD889}" type="slidenum">
              <a:rPr lang="en-US" sz="900" smtClean="0">
                <a:solidFill>
                  <a:schemeClr val="bg1"/>
                </a:solidFill>
              </a:rPr>
              <a:pPr lvl="0" algn="ctr"/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8099F2B-DB2D-4AB9-A1FD-A1EDE1B1006C}"/>
              </a:ext>
            </a:extLst>
          </p:cNvPr>
          <p:cNvSpPr/>
          <p:nvPr userDrawn="1"/>
        </p:nvSpPr>
        <p:spPr>
          <a:xfrm>
            <a:off x="0" y="0"/>
            <a:ext cx="12192000" cy="45719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255015C-5BC8-4639-B74C-295653A1828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6601" y="257088"/>
            <a:ext cx="1190600" cy="498598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B0B8A70C-49D1-4D01-9A1A-6D0791A4B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1" y="257087"/>
            <a:ext cx="11582400" cy="498598"/>
          </a:xfrm>
        </p:spPr>
        <p:txBody>
          <a:bodyPr vert="horz" wrap="square" lIns="0" tIns="0" rIns="0" bIns="0" anchor="t">
            <a:spAutoFit/>
          </a:bodyPr>
          <a:lstStyle>
            <a:lvl1pPr algn="l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Text Here</a:t>
            </a:r>
            <a:endParaRPr lang="en-GB"/>
          </a:p>
        </p:txBody>
      </p:sp>
      <p:sp>
        <p:nvSpPr>
          <p:cNvPr id="19" name="Text Placeholder 22">
            <a:extLst>
              <a:ext uri="{FF2B5EF4-FFF2-40B4-BE49-F238E27FC236}">
                <a16:creationId xmlns:a16="http://schemas.microsoft.com/office/drawing/2014/main" id="{472DDF0A-16E0-45ED-9157-2C4535DE1D3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39902" y="2544219"/>
            <a:ext cx="3512197" cy="3277846"/>
          </a:xfrm>
        </p:spPr>
        <p:txBody>
          <a:bodyPr>
            <a:normAutofit/>
          </a:bodyPr>
          <a:lstStyle>
            <a:lvl1pPr>
              <a:defRPr sz="1800"/>
            </a:lvl1pPr>
            <a:lvl2pPr marL="549275" indent="-285750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3912" indent="-285750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538163" lvl="1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entury Gothic" panose="020B0502020202020204" pitchFamily="34" charset="0"/>
              <a:buChar char="–"/>
              <a:tabLst/>
            </a:pPr>
            <a:r>
              <a:rPr lang="en-US"/>
              <a:t>Second level</a:t>
            </a:r>
          </a:p>
          <a:p>
            <a:pPr marL="803275" lvl="2" indent="-2651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</p:txBody>
      </p:sp>
      <p:sp>
        <p:nvSpPr>
          <p:cNvPr id="21" name="Text Placeholder 22">
            <a:extLst>
              <a:ext uri="{FF2B5EF4-FFF2-40B4-BE49-F238E27FC236}">
                <a16:creationId xmlns:a16="http://schemas.microsoft.com/office/drawing/2014/main" id="{7CF2B593-AAE1-4D9D-AB91-B5D3EC8DE7F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51153" y="2544219"/>
            <a:ext cx="3512197" cy="3277846"/>
          </a:xfrm>
        </p:spPr>
        <p:txBody>
          <a:bodyPr>
            <a:normAutofit/>
          </a:bodyPr>
          <a:lstStyle>
            <a:lvl1pPr>
              <a:defRPr sz="1800"/>
            </a:lvl1pPr>
            <a:lvl2pPr marL="549275" indent="-285750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3912" indent="-285750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538163" lvl="1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entury Gothic" panose="020B0502020202020204" pitchFamily="34" charset="0"/>
              <a:buChar char="–"/>
              <a:tabLst/>
            </a:pPr>
            <a:r>
              <a:rPr lang="en-US"/>
              <a:t>Second level</a:t>
            </a:r>
          </a:p>
          <a:p>
            <a:pPr marL="803275" lvl="2" indent="-2651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722696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1A7CBB6-F2AF-456B-8F38-7F59C46914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6159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1A7CBB6-F2AF-456B-8F38-7F59C46914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056C9989-A508-464A-B9B7-F9E46449A2A1}"/>
              </a:ext>
            </a:extLst>
          </p:cNvPr>
          <p:cNvSpPr>
            <a:spLocks/>
          </p:cNvSpPr>
          <p:nvPr userDrawn="1"/>
        </p:nvSpPr>
        <p:spPr bwMode="auto">
          <a:xfrm flipH="1" flipV="1">
            <a:off x="9470155" y="6164026"/>
            <a:ext cx="2721845" cy="693974"/>
          </a:xfrm>
          <a:custGeom>
            <a:avLst/>
            <a:gdLst>
              <a:gd name="connsiteX0" fmla="*/ 699655 w 2721845"/>
              <a:gd name="connsiteY0" fmla="*/ 693886 h 693974"/>
              <a:gd name="connsiteX1" fmla="*/ 0 w 2721845"/>
              <a:gd name="connsiteY1" fmla="*/ 539760 h 693974"/>
              <a:gd name="connsiteX2" fmla="*/ 0 w 2721845"/>
              <a:gd name="connsiteY2" fmla="*/ 138330 h 693974"/>
              <a:gd name="connsiteX3" fmla="*/ 0 w 2721845"/>
              <a:gd name="connsiteY3" fmla="*/ 0 h 693974"/>
              <a:gd name="connsiteX4" fmla="*/ 2721845 w 2721845"/>
              <a:gd name="connsiteY4" fmla="*/ 0 h 693974"/>
              <a:gd name="connsiteX5" fmla="*/ 2713212 w 2721845"/>
              <a:gd name="connsiteY5" fmla="*/ 2584 h 693974"/>
              <a:gd name="connsiteX6" fmla="*/ 2180075 w 2721845"/>
              <a:gd name="connsiteY6" fmla="*/ 235519 h 693974"/>
              <a:gd name="connsiteX7" fmla="*/ 699655 w 2721845"/>
              <a:gd name="connsiteY7" fmla="*/ 693886 h 693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21845" h="693974">
                <a:moveTo>
                  <a:pt x="699655" y="693886"/>
                </a:moveTo>
                <a:cubicBezTo>
                  <a:pt x="470356" y="691616"/>
                  <a:pt x="237654" y="645399"/>
                  <a:pt x="0" y="539760"/>
                </a:cubicBezTo>
                <a:cubicBezTo>
                  <a:pt x="0" y="404541"/>
                  <a:pt x="0" y="269323"/>
                  <a:pt x="0" y="138330"/>
                </a:cubicBezTo>
                <a:lnTo>
                  <a:pt x="0" y="0"/>
                </a:lnTo>
                <a:lnTo>
                  <a:pt x="2721845" y="0"/>
                </a:lnTo>
                <a:lnTo>
                  <a:pt x="2713212" y="2584"/>
                </a:lnTo>
                <a:cubicBezTo>
                  <a:pt x="2534971" y="64383"/>
                  <a:pt x="2357523" y="142556"/>
                  <a:pt x="2180075" y="235519"/>
                </a:cubicBezTo>
                <a:cubicBezTo>
                  <a:pt x="1692094" y="491166"/>
                  <a:pt x="1204112" y="698879"/>
                  <a:pt x="699655" y="69388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D12653E5-438F-4366-B7AE-10AF704DA0BB}"/>
              </a:ext>
            </a:extLst>
          </p:cNvPr>
          <p:cNvSpPr>
            <a:spLocks/>
          </p:cNvSpPr>
          <p:nvPr userDrawn="1"/>
        </p:nvSpPr>
        <p:spPr bwMode="auto">
          <a:xfrm>
            <a:off x="3048" y="0"/>
            <a:ext cx="12188952" cy="2604655"/>
          </a:xfrm>
          <a:custGeom>
            <a:avLst/>
            <a:gdLst>
              <a:gd name="connsiteX0" fmla="*/ 0 w 12188952"/>
              <a:gd name="connsiteY0" fmla="*/ 0 h 2604655"/>
              <a:gd name="connsiteX1" fmla="*/ 12188952 w 12188952"/>
              <a:gd name="connsiteY1" fmla="*/ 0 h 2604655"/>
              <a:gd name="connsiteX2" fmla="*/ 12188952 w 12188952"/>
              <a:gd name="connsiteY2" fmla="*/ 236255 h 2604655"/>
              <a:gd name="connsiteX3" fmla="*/ 12188952 w 12188952"/>
              <a:gd name="connsiteY3" fmla="*/ 278500 h 2604655"/>
              <a:gd name="connsiteX4" fmla="*/ 11818038 w 12188952"/>
              <a:gd name="connsiteY4" fmla="*/ 231695 h 2604655"/>
              <a:gd name="connsiteX5" fmla="*/ 10693553 w 12188952"/>
              <a:gd name="connsiteY5" fmla="*/ 176063 h 2604655"/>
              <a:gd name="connsiteX6" fmla="*/ 6388060 w 12188952"/>
              <a:gd name="connsiteY6" fmla="*/ 1172542 h 2604655"/>
              <a:gd name="connsiteX7" fmla="*/ 6369388 w 12188952"/>
              <a:gd name="connsiteY7" fmla="*/ 1184797 h 2604655"/>
              <a:gd name="connsiteX8" fmla="*/ 6094476 w 12188952"/>
              <a:gd name="connsiteY8" fmla="*/ 1323027 h 2604655"/>
              <a:gd name="connsiteX9" fmla="*/ 0 w 12188952"/>
              <a:gd name="connsiteY9" fmla="*/ 2173544 h 2604655"/>
              <a:gd name="connsiteX10" fmla="*/ 0 w 12188952"/>
              <a:gd name="connsiteY10" fmla="*/ 0 h 26046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88952" h="2604655">
                <a:moveTo>
                  <a:pt x="0" y="0"/>
                </a:moveTo>
                <a:cubicBezTo>
                  <a:pt x="4110230" y="0"/>
                  <a:pt x="8078725" y="0"/>
                  <a:pt x="12188952" y="0"/>
                </a:cubicBezTo>
                <a:cubicBezTo>
                  <a:pt x="12188952" y="94502"/>
                  <a:pt x="12188952" y="165378"/>
                  <a:pt x="12188952" y="236255"/>
                </a:cubicBezTo>
                <a:lnTo>
                  <a:pt x="12188952" y="278500"/>
                </a:lnTo>
                <a:lnTo>
                  <a:pt x="11818038" y="231695"/>
                </a:lnTo>
                <a:cubicBezTo>
                  <a:pt x="11454819" y="195219"/>
                  <a:pt x="11078744" y="176063"/>
                  <a:pt x="10693553" y="176063"/>
                </a:cubicBezTo>
                <a:cubicBezTo>
                  <a:pt x="8960192" y="176063"/>
                  <a:pt x="7411441" y="563967"/>
                  <a:pt x="6388060" y="1172542"/>
                </a:cubicBezTo>
                <a:lnTo>
                  <a:pt x="6369388" y="1184797"/>
                </a:lnTo>
                <a:lnTo>
                  <a:pt x="6094476" y="1323027"/>
                </a:lnTo>
                <a:cubicBezTo>
                  <a:pt x="4110230" y="2362548"/>
                  <a:pt x="2125981" y="3118563"/>
                  <a:pt x="0" y="2173544"/>
                </a:cubicBezTo>
                <a:cubicBezTo>
                  <a:pt x="0" y="1417529"/>
                  <a:pt x="0" y="661513"/>
                  <a:pt x="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0" name="Picture Placeholder 11">
            <a:extLst>
              <a:ext uri="{FF2B5EF4-FFF2-40B4-BE49-F238E27FC236}">
                <a16:creationId xmlns:a16="http://schemas.microsoft.com/office/drawing/2014/main" id="{5C186062-0596-4E5C-8ED1-1E1B88580A0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22351" y="778885"/>
            <a:ext cx="2580704" cy="2580704"/>
          </a:xfrm>
          <a:custGeom>
            <a:avLst/>
            <a:gdLst>
              <a:gd name="connsiteX0" fmla="*/ 553019 w 2580704"/>
              <a:gd name="connsiteY0" fmla="*/ 0 h 2580704"/>
              <a:gd name="connsiteX1" fmla="*/ 2027685 w 2580704"/>
              <a:gd name="connsiteY1" fmla="*/ 0 h 2580704"/>
              <a:gd name="connsiteX2" fmla="*/ 2580704 w 2580704"/>
              <a:gd name="connsiteY2" fmla="*/ 553019 h 2580704"/>
              <a:gd name="connsiteX3" fmla="*/ 2580704 w 2580704"/>
              <a:gd name="connsiteY3" fmla="*/ 2027685 h 2580704"/>
              <a:gd name="connsiteX4" fmla="*/ 2027685 w 2580704"/>
              <a:gd name="connsiteY4" fmla="*/ 2580704 h 2580704"/>
              <a:gd name="connsiteX5" fmla="*/ 553019 w 2580704"/>
              <a:gd name="connsiteY5" fmla="*/ 2580704 h 2580704"/>
              <a:gd name="connsiteX6" fmla="*/ 0 w 2580704"/>
              <a:gd name="connsiteY6" fmla="*/ 2027685 h 2580704"/>
              <a:gd name="connsiteX7" fmla="*/ 0 w 2580704"/>
              <a:gd name="connsiteY7" fmla="*/ 553019 h 2580704"/>
              <a:gd name="connsiteX8" fmla="*/ 553019 w 2580704"/>
              <a:gd name="connsiteY8" fmla="*/ 0 h 2580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80704" h="2580704">
                <a:moveTo>
                  <a:pt x="553019" y="0"/>
                </a:moveTo>
                <a:lnTo>
                  <a:pt x="2027685" y="0"/>
                </a:lnTo>
                <a:cubicBezTo>
                  <a:pt x="2333109" y="0"/>
                  <a:pt x="2580704" y="247595"/>
                  <a:pt x="2580704" y="553019"/>
                </a:cubicBezTo>
                <a:lnTo>
                  <a:pt x="2580704" y="2027685"/>
                </a:lnTo>
                <a:cubicBezTo>
                  <a:pt x="2580704" y="2333109"/>
                  <a:pt x="2333109" y="2580704"/>
                  <a:pt x="2027685" y="2580704"/>
                </a:cubicBezTo>
                <a:lnTo>
                  <a:pt x="553019" y="2580704"/>
                </a:lnTo>
                <a:cubicBezTo>
                  <a:pt x="247595" y="2580704"/>
                  <a:pt x="0" y="2333109"/>
                  <a:pt x="0" y="2027685"/>
                </a:cubicBezTo>
                <a:lnTo>
                  <a:pt x="0" y="553019"/>
                </a:lnTo>
                <a:cubicBezTo>
                  <a:pt x="0" y="247595"/>
                  <a:pt x="247595" y="0"/>
                  <a:pt x="553019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endParaRPr lang="id-ID"/>
          </a:p>
        </p:txBody>
      </p:sp>
      <p:sp>
        <p:nvSpPr>
          <p:cNvPr id="11" name="Picture Placeholder 14">
            <a:extLst>
              <a:ext uri="{FF2B5EF4-FFF2-40B4-BE49-F238E27FC236}">
                <a16:creationId xmlns:a16="http://schemas.microsoft.com/office/drawing/2014/main" id="{7DC5672A-A198-4EB1-928E-2AB555C6FAE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631551" y="778885"/>
            <a:ext cx="2580704" cy="2580704"/>
          </a:xfrm>
          <a:custGeom>
            <a:avLst/>
            <a:gdLst>
              <a:gd name="connsiteX0" fmla="*/ 553019 w 2580704"/>
              <a:gd name="connsiteY0" fmla="*/ 0 h 2580704"/>
              <a:gd name="connsiteX1" fmla="*/ 2027685 w 2580704"/>
              <a:gd name="connsiteY1" fmla="*/ 0 h 2580704"/>
              <a:gd name="connsiteX2" fmla="*/ 2580704 w 2580704"/>
              <a:gd name="connsiteY2" fmla="*/ 553019 h 2580704"/>
              <a:gd name="connsiteX3" fmla="*/ 2580704 w 2580704"/>
              <a:gd name="connsiteY3" fmla="*/ 2027685 h 2580704"/>
              <a:gd name="connsiteX4" fmla="*/ 2027685 w 2580704"/>
              <a:gd name="connsiteY4" fmla="*/ 2580704 h 2580704"/>
              <a:gd name="connsiteX5" fmla="*/ 553019 w 2580704"/>
              <a:gd name="connsiteY5" fmla="*/ 2580704 h 2580704"/>
              <a:gd name="connsiteX6" fmla="*/ 0 w 2580704"/>
              <a:gd name="connsiteY6" fmla="*/ 2027685 h 2580704"/>
              <a:gd name="connsiteX7" fmla="*/ 0 w 2580704"/>
              <a:gd name="connsiteY7" fmla="*/ 553019 h 2580704"/>
              <a:gd name="connsiteX8" fmla="*/ 553019 w 2580704"/>
              <a:gd name="connsiteY8" fmla="*/ 0 h 2580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80704" h="2580704">
                <a:moveTo>
                  <a:pt x="553019" y="0"/>
                </a:moveTo>
                <a:lnTo>
                  <a:pt x="2027685" y="0"/>
                </a:lnTo>
                <a:cubicBezTo>
                  <a:pt x="2333109" y="0"/>
                  <a:pt x="2580704" y="247595"/>
                  <a:pt x="2580704" y="553019"/>
                </a:cubicBezTo>
                <a:lnTo>
                  <a:pt x="2580704" y="2027685"/>
                </a:lnTo>
                <a:cubicBezTo>
                  <a:pt x="2580704" y="2333109"/>
                  <a:pt x="2333109" y="2580704"/>
                  <a:pt x="2027685" y="2580704"/>
                </a:cubicBezTo>
                <a:lnTo>
                  <a:pt x="553019" y="2580704"/>
                </a:lnTo>
                <a:cubicBezTo>
                  <a:pt x="247595" y="2580704"/>
                  <a:pt x="0" y="2333109"/>
                  <a:pt x="0" y="2027685"/>
                </a:cubicBezTo>
                <a:lnTo>
                  <a:pt x="0" y="553019"/>
                </a:lnTo>
                <a:cubicBezTo>
                  <a:pt x="0" y="247595"/>
                  <a:pt x="247595" y="0"/>
                  <a:pt x="553019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endParaRPr lang="id-ID"/>
          </a:p>
        </p:txBody>
      </p:sp>
      <p:sp>
        <p:nvSpPr>
          <p:cNvPr id="12" name="Picture Placeholder 17">
            <a:extLst>
              <a:ext uri="{FF2B5EF4-FFF2-40B4-BE49-F238E27FC236}">
                <a16:creationId xmlns:a16="http://schemas.microsoft.com/office/drawing/2014/main" id="{D3C7E9A6-16B6-408A-92D2-5BCC75E68B4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22352" y="3516699"/>
            <a:ext cx="2580704" cy="2580704"/>
          </a:xfrm>
          <a:custGeom>
            <a:avLst/>
            <a:gdLst>
              <a:gd name="connsiteX0" fmla="*/ 553019 w 2580704"/>
              <a:gd name="connsiteY0" fmla="*/ 0 h 2580704"/>
              <a:gd name="connsiteX1" fmla="*/ 2027685 w 2580704"/>
              <a:gd name="connsiteY1" fmla="*/ 0 h 2580704"/>
              <a:gd name="connsiteX2" fmla="*/ 2580704 w 2580704"/>
              <a:gd name="connsiteY2" fmla="*/ 553019 h 2580704"/>
              <a:gd name="connsiteX3" fmla="*/ 2580704 w 2580704"/>
              <a:gd name="connsiteY3" fmla="*/ 2027685 h 2580704"/>
              <a:gd name="connsiteX4" fmla="*/ 2027685 w 2580704"/>
              <a:gd name="connsiteY4" fmla="*/ 2580704 h 2580704"/>
              <a:gd name="connsiteX5" fmla="*/ 553019 w 2580704"/>
              <a:gd name="connsiteY5" fmla="*/ 2580704 h 2580704"/>
              <a:gd name="connsiteX6" fmla="*/ 0 w 2580704"/>
              <a:gd name="connsiteY6" fmla="*/ 2027685 h 2580704"/>
              <a:gd name="connsiteX7" fmla="*/ 0 w 2580704"/>
              <a:gd name="connsiteY7" fmla="*/ 553019 h 2580704"/>
              <a:gd name="connsiteX8" fmla="*/ 553019 w 2580704"/>
              <a:gd name="connsiteY8" fmla="*/ 0 h 2580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80704" h="2580704">
                <a:moveTo>
                  <a:pt x="553019" y="0"/>
                </a:moveTo>
                <a:lnTo>
                  <a:pt x="2027685" y="0"/>
                </a:lnTo>
                <a:cubicBezTo>
                  <a:pt x="2333109" y="0"/>
                  <a:pt x="2580704" y="247595"/>
                  <a:pt x="2580704" y="553019"/>
                </a:cubicBezTo>
                <a:lnTo>
                  <a:pt x="2580704" y="2027685"/>
                </a:lnTo>
                <a:cubicBezTo>
                  <a:pt x="2580704" y="2333109"/>
                  <a:pt x="2333109" y="2580704"/>
                  <a:pt x="2027685" y="2580704"/>
                </a:cubicBezTo>
                <a:lnTo>
                  <a:pt x="553019" y="2580704"/>
                </a:lnTo>
                <a:cubicBezTo>
                  <a:pt x="247595" y="2580704"/>
                  <a:pt x="0" y="2333109"/>
                  <a:pt x="0" y="2027685"/>
                </a:cubicBezTo>
                <a:lnTo>
                  <a:pt x="0" y="553019"/>
                </a:lnTo>
                <a:cubicBezTo>
                  <a:pt x="0" y="247595"/>
                  <a:pt x="247595" y="0"/>
                  <a:pt x="553019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endParaRPr lang="id-ID"/>
          </a:p>
        </p:txBody>
      </p:sp>
      <p:sp>
        <p:nvSpPr>
          <p:cNvPr id="13" name="Picture Placeholder 20">
            <a:extLst>
              <a:ext uri="{FF2B5EF4-FFF2-40B4-BE49-F238E27FC236}">
                <a16:creationId xmlns:a16="http://schemas.microsoft.com/office/drawing/2014/main" id="{76350379-D1C3-4926-BA14-CC437EBBFB8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631553" y="3516699"/>
            <a:ext cx="2580704" cy="2580704"/>
          </a:xfrm>
          <a:custGeom>
            <a:avLst/>
            <a:gdLst>
              <a:gd name="connsiteX0" fmla="*/ 553019 w 2580704"/>
              <a:gd name="connsiteY0" fmla="*/ 0 h 2580704"/>
              <a:gd name="connsiteX1" fmla="*/ 2027685 w 2580704"/>
              <a:gd name="connsiteY1" fmla="*/ 0 h 2580704"/>
              <a:gd name="connsiteX2" fmla="*/ 2580704 w 2580704"/>
              <a:gd name="connsiteY2" fmla="*/ 553019 h 2580704"/>
              <a:gd name="connsiteX3" fmla="*/ 2580704 w 2580704"/>
              <a:gd name="connsiteY3" fmla="*/ 2027685 h 2580704"/>
              <a:gd name="connsiteX4" fmla="*/ 2027685 w 2580704"/>
              <a:gd name="connsiteY4" fmla="*/ 2580704 h 2580704"/>
              <a:gd name="connsiteX5" fmla="*/ 553019 w 2580704"/>
              <a:gd name="connsiteY5" fmla="*/ 2580704 h 2580704"/>
              <a:gd name="connsiteX6" fmla="*/ 0 w 2580704"/>
              <a:gd name="connsiteY6" fmla="*/ 2027685 h 2580704"/>
              <a:gd name="connsiteX7" fmla="*/ 0 w 2580704"/>
              <a:gd name="connsiteY7" fmla="*/ 553019 h 2580704"/>
              <a:gd name="connsiteX8" fmla="*/ 553019 w 2580704"/>
              <a:gd name="connsiteY8" fmla="*/ 0 h 2580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80704" h="2580704">
                <a:moveTo>
                  <a:pt x="553019" y="0"/>
                </a:moveTo>
                <a:lnTo>
                  <a:pt x="2027685" y="0"/>
                </a:lnTo>
                <a:cubicBezTo>
                  <a:pt x="2333109" y="0"/>
                  <a:pt x="2580704" y="247595"/>
                  <a:pt x="2580704" y="553019"/>
                </a:cubicBezTo>
                <a:lnTo>
                  <a:pt x="2580704" y="2027685"/>
                </a:lnTo>
                <a:cubicBezTo>
                  <a:pt x="2580704" y="2333109"/>
                  <a:pt x="2333109" y="2580704"/>
                  <a:pt x="2027685" y="2580704"/>
                </a:cubicBezTo>
                <a:lnTo>
                  <a:pt x="553019" y="2580704"/>
                </a:lnTo>
                <a:cubicBezTo>
                  <a:pt x="247595" y="2580704"/>
                  <a:pt x="0" y="2333109"/>
                  <a:pt x="0" y="2027685"/>
                </a:cubicBezTo>
                <a:lnTo>
                  <a:pt x="0" y="553019"/>
                </a:lnTo>
                <a:cubicBezTo>
                  <a:pt x="0" y="247595"/>
                  <a:pt x="247595" y="0"/>
                  <a:pt x="553019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endParaRPr lang="id-ID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71D62E48-F0C9-4E6A-B7F9-31AF16B84980}"/>
              </a:ext>
            </a:extLst>
          </p:cNvPr>
          <p:cNvSpPr/>
          <p:nvPr userDrawn="1"/>
        </p:nvSpPr>
        <p:spPr>
          <a:xfrm>
            <a:off x="11725201" y="6389370"/>
            <a:ext cx="324000" cy="324000"/>
          </a:xfrm>
          <a:prstGeom prst="ellipse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lvl="0" algn="ctr"/>
            <a:fld id="{2BE5444B-4271-492E-9574-164FD80BD889}" type="slidenum">
              <a:rPr lang="en-US" sz="900" smtClean="0">
                <a:solidFill>
                  <a:schemeClr val="bg1"/>
                </a:solidFill>
              </a:rPr>
              <a:pPr lvl="0" algn="ctr"/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4BAAFF0-1C9A-481B-B0A2-1409DC092AF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6601" y="257088"/>
            <a:ext cx="1190600" cy="498598"/>
          </a:xfrm>
          <a:prstGeom prst="rect">
            <a:avLst/>
          </a:prstGeom>
        </p:spPr>
      </p:pic>
      <p:sp>
        <p:nvSpPr>
          <p:cNvPr id="24" name="Title 1">
            <a:extLst>
              <a:ext uri="{FF2B5EF4-FFF2-40B4-BE49-F238E27FC236}">
                <a16:creationId xmlns:a16="http://schemas.microsoft.com/office/drawing/2014/main" id="{CD280D70-539F-4889-B938-68875CE9E9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84691" y="1012774"/>
            <a:ext cx="4902510" cy="498598"/>
          </a:xfrm>
        </p:spPr>
        <p:txBody>
          <a:bodyPr vert="horz" wrap="square" lIns="0" tIns="0" rIns="0" bIns="0" anchor="t">
            <a:spAutoFit/>
          </a:bodyPr>
          <a:lstStyle>
            <a:lvl1pPr algn="l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Text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9173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CED874E1-9338-4126-92A2-94358BDB7E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2718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CED874E1-9338-4126-92A2-94358BDB7E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32">
            <a:extLst>
              <a:ext uri="{FF2B5EF4-FFF2-40B4-BE49-F238E27FC236}">
                <a16:creationId xmlns:a16="http://schemas.microsoft.com/office/drawing/2014/main" id="{8A75459C-D158-4007-9057-04FD837E9BB1}"/>
              </a:ext>
            </a:extLst>
          </p:cNvPr>
          <p:cNvSpPr>
            <a:spLocks/>
          </p:cNvSpPr>
          <p:nvPr userDrawn="1"/>
        </p:nvSpPr>
        <p:spPr bwMode="auto">
          <a:xfrm flipV="1">
            <a:off x="4736898" y="1568370"/>
            <a:ext cx="7455102" cy="5289630"/>
          </a:xfrm>
          <a:custGeom>
            <a:avLst/>
            <a:gdLst>
              <a:gd name="T0" fmla="*/ 297 w 1043"/>
              <a:gd name="T1" fmla="*/ 114 h 507"/>
              <a:gd name="T2" fmla="*/ 763 w 1043"/>
              <a:gd name="T3" fmla="*/ 384 h 507"/>
              <a:gd name="T4" fmla="*/ 1043 w 1043"/>
              <a:gd name="T5" fmla="*/ 0 h 507"/>
              <a:gd name="T6" fmla="*/ 0 w 1043"/>
              <a:gd name="T7" fmla="*/ 0 h 507"/>
              <a:gd name="T8" fmla="*/ 297 w 1043"/>
              <a:gd name="T9" fmla="*/ 114 h 5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43" h="507">
                <a:moveTo>
                  <a:pt x="297" y="114"/>
                </a:moveTo>
                <a:cubicBezTo>
                  <a:pt x="519" y="72"/>
                  <a:pt x="416" y="507"/>
                  <a:pt x="763" y="384"/>
                </a:cubicBezTo>
                <a:cubicBezTo>
                  <a:pt x="971" y="311"/>
                  <a:pt x="1030" y="132"/>
                  <a:pt x="1043" y="0"/>
                </a:cubicBezTo>
                <a:cubicBezTo>
                  <a:pt x="0" y="0"/>
                  <a:pt x="0" y="0"/>
                  <a:pt x="0" y="0"/>
                </a:cubicBezTo>
                <a:cubicBezTo>
                  <a:pt x="43" y="85"/>
                  <a:pt x="187" y="134"/>
                  <a:pt x="297" y="11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D8B67AD8-24E8-44EF-A62B-B879F6DCA8E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609943" y="1964022"/>
            <a:ext cx="4528457" cy="2624194"/>
          </a:xfrm>
          <a:prstGeom prst="rect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endParaRPr lang="id-ID"/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30C635A6-A115-4E57-B219-EEA5BB14182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341929" y="3255792"/>
            <a:ext cx="1768927" cy="2385213"/>
          </a:xfrm>
          <a:prstGeom prst="rect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endParaRPr lang="id-ID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2600CCC6-8A4A-4D56-905B-706C4A4DEF55}"/>
              </a:ext>
            </a:extLst>
          </p:cNvPr>
          <p:cNvSpPr/>
          <p:nvPr userDrawn="1"/>
        </p:nvSpPr>
        <p:spPr>
          <a:xfrm>
            <a:off x="11725201" y="6389370"/>
            <a:ext cx="324000" cy="324000"/>
          </a:xfrm>
          <a:prstGeom prst="ellipse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lvl="0" algn="ctr"/>
            <a:fld id="{2BE5444B-4271-492E-9574-164FD80BD889}" type="slidenum">
              <a:rPr lang="en-US" sz="900" smtClean="0">
                <a:solidFill>
                  <a:schemeClr val="bg1"/>
                </a:solidFill>
              </a:rPr>
              <a:pPr lvl="0" algn="ctr"/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4A3A97C-7C40-4911-AB33-F26A49FE0728}"/>
              </a:ext>
            </a:extLst>
          </p:cNvPr>
          <p:cNvSpPr/>
          <p:nvPr userDrawn="1"/>
        </p:nvSpPr>
        <p:spPr>
          <a:xfrm>
            <a:off x="0" y="0"/>
            <a:ext cx="12192000" cy="45719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6FDD2CF-05E6-4D1E-A49B-8B9D202182E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6601" y="257088"/>
            <a:ext cx="1190600" cy="498598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520E8AFB-9245-4970-9F4C-71BC4EC6BA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1" y="257087"/>
            <a:ext cx="11582400" cy="498598"/>
          </a:xfrm>
        </p:spPr>
        <p:txBody>
          <a:bodyPr vert="horz" wrap="square" lIns="0" tIns="0" rIns="0" bIns="0" anchor="t">
            <a:spAutoFit/>
          </a:bodyPr>
          <a:lstStyle>
            <a:lvl1pPr algn="l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Text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85346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46575DD-ECDD-431F-9ECE-AE53D5C3C3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5199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46575DD-ECDD-431F-9ECE-AE53D5C3C3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Arrow: Pentagon 20">
            <a:extLst>
              <a:ext uri="{FF2B5EF4-FFF2-40B4-BE49-F238E27FC236}">
                <a16:creationId xmlns:a16="http://schemas.microsoft.com/office/drawing/2014/main" id="{29B707AA-4F03-4BF2-AC23-49E3B1C9C672}"/>
              </a:ext>
            </a:extLst>
          </p:cNvPr>
          <p:cNvSpPr/>
          <p:nvPr userDrawn="1"/>
        </p:nvSpPr>
        <p:spPr>
          <a:xfrm rot="16200000">
            <a:off x="4194464" y="-1139538"/>
            <a:ext cx="3803073" cy="12191999"/>
          </a:xfrm>
          <a:prstGeom prst="homePlate">
            <a:avLst>
              <a:gd name="adj" fmla="val 29235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A235E36F-7CEA-4FFA-A0FC-DE782DACF1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0074" y="2228850"/>
            <a:ext cx="2603884" cy="2769176"/>
          </a:xfrm>
          <a:custGeom>
            <a:avLst/>
            <a:gdLst>
              <a:gd name="connsiteX0" fmla="*/ 433989 w 2603884"/>
              <a:gd name="connsiteY0" fmla="*/ 0 h 2769176"/>
              <a:gd name="connsiteX1" fmla="*/ 2169895 w 2603884"/>
              <a:gd name="connsiteY1" fmla="*/ 0 h 2769176"/>
              <a:gd name="connsiteX2" fmla="*/ 2603884 w 2603884"/>
              <a:gd name="connsiteY2" fmla="*/ 433989 h 2769176"/>
              <a:gd name="connsiteX3" fmla="*/ 2603884 w 2603884"/>
              <a:gd name="connsiteY3" fmla="*/ 2335187 h 2769176"/>
              <a:gd name="connsiteX4" fmla="*/ 2169895 w 2603884"/>
              <a:gd name="connsiteY4" fmla="*/ 2769176 h 2769176"/>
              <a:gd name="connsiteX5" fmla="*/ 433989 w 2603884"/>
              <a:gd name="connsiteY5" fmla="*/ 2769176 h 2769176"/>
              <a:gd name="connsiteX6" fmla="*/ 0 w 2603884"/>
              <a:gd name="connsiteY6" fmla="*/ 2335187 h 2769176"/>
              <a:gd name="connsiteX7" fmla="*/ 0 w 2603884"/>
              <a:gd name="connsiteY7" fmla="*/ 433989 h 2769176"/>
              <a:gd name="connsiteX8" fmla="*/ 433989 w 2603884"/>
              <a:gd name="connsiteY8" fmla="*/ 0 h 2769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03884" h="2769176">
                <a:moveTo>
                  <a:pt x="433989" y="0"/>
                </a:moveTo>
                <a:lnTo>
                  <a:pt x="2169895" y="0"/>
                </a:lnTo>
                <a:cubicBezTo>
                  <a:pt x="2409581" y="0"/>
                  <a:pt x="2603884" y="194303"/>
                  <a:pt x="2603884" y="433989"/>
                </a:cubicBezTo>
                <a:lnTo>
                  <a:pt x="2603884" y="2335187"/>
                </a:lnTo>
                <a:cubicBezTo>
                  <a:pt x="2603884" y="2574873"/>
                  <a:pt x="2409581" y="2769176"/>
                  <a:pt x="2169895" y="2769176"/>
                </a:cubicBezTo>
                <a:lnTo>
                  <a:pt x="433989" y="2769176"/>
                </a:lnTo>
                <a:cubicBezTo>
                  <a:pt x="194303" y="2769176"/>
                  <a:pt x="0" y="2574873"/>
                  <a:pt x="0" y="2335187"/>
                </a:cubicBezTo>
                <a:lnTo>
                  <a:pt x="0" y="433989"/>
                </a:lnTo>
                <a:cubicBezTo>
                  <a:pt x="0" y="194303"/>
                  <a:pt x="194303" y="0"/>
                  <a:pt x="433989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id-ID"/>
          </a:p>
        </p:txBody>
      </p:sp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CB2FDBC2-09BF-4743-8D52-283BFB4587B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6063" y="2228850"/>
            <a:ext cx="2603884" cy="2769176"/>
          </a:xfrm>
          <a:custGeom>
            <a:avLst/>
            <a:gdLst>
              <a:gd name="connsiteX0" fmla="*/ 433989 w 2603884"/>
              <a:gd name="connsiteY0" fmla="*/ 0 h 2769176"/>
              <a:gd name="connsiteX1" fmla="*/ 2169895 w 2603884"/>
              <a:gd name="connsiteY1" fmla="*/ 0 h 2769176"/>
              <a:gd name="connsiteX2" fmla="*/ 2603884 w 2603884"/>
              <a:gd name="connsiteY2" fmla="*/ 433989 h 2769176"/>
              <a:gd name="connsiteX3" fmla="*/ 2603884 w 2603884"/>
              <a:gd name="connsiteY3" fmla="*/ 2335187 h 2769176"/>
              <a:gd name="connsiteX4" fmla="*/ 2169895 w 2603884"/>
              <a:gd name="connsiteY4" fmla="*/ 2769176 h 2769176"/>
              <a:gd name="connsiteX5" fmla="*/ 433989 w 2603884"/>
              <a:gd name="connsiteY5" fmla="*/ 2769176 h 2769176"/>
              <a:gd name="connsiteX6" fmla="*/ 0 w 2603884"/>
              <a:gd name="connsiteY6" fmla="*/ 2335187 h 2769176"/>
              <a:gd name="connsiteX7" fmla="*/ 0 w 2603884"/>
              <a:gd name="connsiteY7" fmla="*/ 433989 h 2769176"/>
              <a:gd name="connsiteX8" fmla="*/ 433989 w 2603884"/>
              <a:gd name="connsiteY8" fmla="*/ 0 h 2769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03884" h="2769176">
                <a:moveTo>
                  <a:pt x="433989" y="0"/>
                </a:moveTo>
                <a:lnTo>
                  <a:pt x="2169895" y="0"/>
                </a:lnTo>
                <a:cubicBezTo>
                  <a:pt x="2409581" y="0"/>
                  <a:pt x="2603884" y="194303"/>
                  <a:pt x="2603884" y="433989"/>
                </a:cubicBezTo>
                <a:lnTo>
                  <a:pt x="2603884" y="2335187"/>
                </a:lnTo>
                <a:cubicBezTo>
                  <a:pt x="2603884" y="2574873"/>
                  <a:pt x="2409581" y="2769176"/>
                  <a:pt x="2169895" y="2769176"/>
                </a:cubicBezTo>
                <a:lnTo>
                  <a:pt x="433989" y="2769176"/>
                </a:lnTo>
                <a:cubicBezTo>
                  <a:pt x="194303" y="2769176"/>
                  <a:pt x="0" y="2574873"/>
                  <a:pt x="0" y="2335187"/>
                </a:cubicBezTo>
                <a:lnTo>
                  <a:pt x="0" y="433989"/>
                </a:lnTo>
                <a:cubicBezTo>
                  <a:pt x="0" y="194303"/>
                  <a:pt x="194303" y="0"/>
                  <a:pt x="433989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id-ID"/>
          </a:p>
        </p:txBody>
      </p:sp>
      <p:sp>
        <p:nvSpPr>
          <p:cNvPr id="10" name="Picture Placeholder 14">
            <a:extLst>
              <a:ext uri="{FF2B5EF4-FFF2-40B4-BE49-F238E27FC236}">
                <a16:creationId xmlns:a16="http://schemas.microsoft.com/office/drawing/2014/main" id="{486C1E75-CA2C-46E4-91C2-3EFF4154DA9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92051" y="2228850"/>
            <a:ext cx="2603884" cy="2769176"/>
          </a:xfrm>
          <a:custGeom>
            <a:avLst/>
            <a:gdLst>
              <a:gd name="connsiteX0" fmla="*/ 433989 w 2603884"/>
              <a:gd name="connsiteY0" fmla="*/ 0 h 2769176"/>
              <a:gd name="connsiteX1" fmla="*/ 2169895 w 2603884"/>
              <a:gd name="connsiteY1" fmla="*/ 0 h 2769176"/>
              <a:gd name="connsiteX2" fmla="*/ 2603884 w 2603884"/>
              <a:gd name="connsiteY2" fmla="*/ 433989 h 2769176"/>
              <a:gd name="connsiteX3" fmla="*/ 2603884 w 2603884"/>
              <a:gd name="connsiteY3" fmla="*/ 2335187 h 2769176"/>
              <a:gd name="connsiteX4" fmla="*/ 2169895 w 2603884"/>
              <a:gd name="connsiteY4" fmla="*/ 2769176 h 2769176"/>
              <a:gd name="connsiteX5" fmla="*/ 433989 w 2603884"/>
              <a:gd name="connsiteY5" fmla="*/ 2769176 h 2769176"/>
              <a:gd name="connsiteX6" fmla="*/ 0 w 2603884"/>
              <a:gd name="connsiteY6" fmla="*/ 2335187 h 2769176"/>
              <a:gd name="connsiteX7" fmla="*/ 0 w 2603884"/>
              <a:gd name="connsiteY7" fmla="*/ 433989 h 2769176"/>
              <a:gd name="connsiteX8" fmla="*/ 433989 w 2603884"/>
              <a:gd name="connsiteY8" fmla="*/ 0 h 2769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03884" h="2769176">
                <a:moveTo>
                  <a:pt x="433989" y="0"/>
                </a:moveTo>
                <a:lnTo>
                  <a:pt x="2169895" y="0"/>
                </a:lnTo>
                <a:cubicBezTo>
                  <a:pt x="2409581" y="0"/>
                  <a:pt x="2603884" y="194303"/>
                  <a:pt x="2603884" y="433989"/>
                </a:cubicBezTo>
                <a:lnTo>
                  <a:pt x="2603884" y="2335187"/>
                </a:lnTo>
                <a:cubicBezTo>
                  <a:pt x="2603884" y="2574873"/>
                  <a:pt x="2409581" y="2769176"/>
                  <a:pt x="2169895" y="2769176"/>
                </a:cubicBezTo>
                <a:lnTo>
                  <a:pt x="433989" y="2769176"/>
                </a:lnTo>
                <a:cubicBezTo>
                  <a:pt x="194303" y="2769176"/>
                  <a:pt x="0" y="2574873"/>
                  <a:pt x="0" y="2335187"/>
                </a:cubicBezTo>
                <a:lnTo>
                  <a:pt x="0" y="433989"/>
                </a:lnTo>
                <a:cubicBezTo>
                  <a:pt x="0" y="194303"/>
                  <a:pt x="194303" y="0"/>
                  <a:pt x="433989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id-ID"/>
          </a:p>
        </p:txBody>
      </p:sp>
      <p:sp>
        <p:nvSpPr>
          <p:cNvPr id="11" name="Picture Placeholder 17">
            <a:extLst>
              <a:ext uri="{FF2B5EF4-FFF2-40B4-BE49-F238E27FC236}">
                <a16:creationId xmlns:a16="http://schemas.microsoft.com/office/drawing/2014/main" id="{67F9C716-ECA9-43FA-9BE2-0CE74443447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988041" y="2228850"/>
            <a:ext cx="2603884" cy="2769176"/>
          </a:xfrm>
          <a:custGeom>
            <a:avLst/>
            <a:gdLst>
              <a:gd name="connsiteX0" fmla="*/ 433989 w 2603884"/>
              <a:gd name="connsiteY0" fmla="*/ 0 h 2769176"/>
              <a:gd name="connsiteX1" fmla="*/ 2169895 w 2603884"/>
              <a:gd name="connsiteY1" fmla="*/ 0 h 2769176"/>
              <a:gd name="connsiteX2" fmla="*/ 2603884 w 2603884"/>
              <a:gd name="connsiteY2" fmla="*/ 433989 h 2769176"/>
              <a:gd name="connsiteX3" fmla="*/ 2603884 w 2603884"/>
              <a:gd name="connsiteY3" fmla="*/ 2335187 h 2769176"/>
              <a:gd name="connsiteX4" fmla="*/ 2169895 w 2603884"/>
              <a:gd name="connsiteY4" fmla="*/ 2769176 h 2769176"/>
              <a:gd name="connsiteX5" fmla="*/ 433989 w 2603884"/>
              <a:gd name="connsiteY5" fmla="*/ 2769176 h 2769176"/>
              <a:gd name="connsiteX6" fmla="*/ 0 w 2603884"/>
              <a:gd name="connsiteY6" fmla="*/ 2335187 h 2769176"/>
              <a:gd name="connsiteX7" fmla="*/ 0 w 2603884"/>
              <a:gd name="connsiteY7" fmla="*/ 433989 h 2769176"/>
              <a:gd name="connsiteX8" fmla="*/ 433989 w 2603884"/>
              <a:gd name="connsiteY8" fmla="*/ 0 h 2769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03884" h="2769176">
                <a:moveTo>
                  <a:pt x="433989" y="0"/>
                </a:moveTo>
                <a:lnTo>
                  <a:pt x="2169895" y="0"/>
                </a:lnTo>
                <a:cubicBezTo>
                  <a:pt x="2409581" y="0"/>
                  <a:pt x="2603884" y="194303"/>
                  <a:pt x="2603884" y="433989"/>
                </a:cubicBezTo>
                <a:lnTo>
                  <a:pt x="2603884" y="2335187"/>
                </a:lnTo>
                <a:cubicBezTo>
                  <a:pt x="2603884" y="2574873"/>
                  <a:pt x="2409581" y="2769176"/>
                  <a:pt x="2169895" y="2769176"/>
                </a:cubicBezTo>
                <a:lnTo>
                  <a:pt x="433989" y="2769176"/>
                </a:lnTo>
                <a:cubicBezTo>
                  <a:pt x="194303" y="2769176"/>
                  <a:pt x="0" y="2574873"/>
                  <a:pt x="0" y="2335187"/>
                </a:cubicBezTo>
                <a:lnTo>
                  <a:pt x="0" y="433989"/>
                </a:lnTo>
                <a:cubicBezTo>
                  <a:pt x="0" y="194303"/>
                  <a:pt x="194303" y="0"/>
                  <a:pt x="433989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id-ID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09A77330-A661-484F-9AE1-168D80055CA3}"/>
              </a:ext>
            </a:extLst>
          </p:cNvPr>
          <p:cNvSpPr/>
          <p:nvPr userDrawn="1"/>
        </p:nvSpPr>
        <p:spPr>
          <a:xfrm>
            <a:off x="11725201" y="6389370"/>
            <a:ext cx="324000" cy="324000"/>
          </a:xfrm>
          <a:prstGeom prst="ellipse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lvl="0" algn="ctr"/>
            <a:fld id="{2BE5444B-4271-492E-9574-164FD80BD889}" type="slidenum">
              <a:rPr lang="en-US" sz="900" smtClean="0">
                <a:solidFill>
                  <a:schemeClr val="bg1"/>
                </a:solidFill>
              </a:rPr>
              <a:pPr lvl="0" algn="ctr"/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3EC98EE-CE30-4963-99E3-758AE26D9D8A}"/>
              </a:ext>
            </a:extLst>
          </p:cNvPr>
          <p:cNvSpPr/>
          <p:nvPr userDrawn="1"/>
        </p:nvSpPr>
        <p:spPr>
          <a:xfrm>
            <a:off x="0" y="0"/>
            <a:ext cx="12192000" cy="45719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9AB27D1A-0EFB-4B53-9BE6-98CA060B0B3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6601" y="257088"/>
            <a:ext cx="1190600" cy="498598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09BF4386-DDA5-4761-BE8B-2F857834D2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1" y="257087"/>
            <a:ext cx="11582400" cy="498598"/>
          </a:xfrm>
        </p:spPr>
        <p:txBody>
          <a:bodyPr vert="horz" wrap="square" lIns="0" tIns="0" rIns="0" bIns="0" anchor="t">
            <a:spAutoFit/>
          </a:bodyPr>
          <a:lstStyle>
            <a:lvl1pPr algn="l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Text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435385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7A68117-BB46-4828-85C2-51AF65AB36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267483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28" imgW="425" imgH="426" progId="TCLayout.ActiveDocument.1">
                  <p:embed/>
                </p:oleObj>
              </mc:Choice>
              <mc:Fallback>
                <p:oleObj name="think-cell Slide" r:id="rId28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7A68117-BB46-4828-85C2-51AF65AB36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9783C56-FD03-4BAF-915C-1CF0F3EE39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F09539-E87F-4A39-B5C3-E1C74AB45E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D9DF55-26E4-4FBE-8671-75740EA2D70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A4F5DF-7D14-43CB-9667-84CE429FEE22}" type="datetimeFigureOut">
              <a:rPr lang="en-US" smtClean="0"/>
              <a:t>4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45BD11-06E1-4A4C-855F-3A11422782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022900-BF93-43DA-97B9-FF17E483FD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64747C-DA70-451F-8004-9291E62110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19680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0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6.jpeg"/><Relationship Id="rId7" Type="http://schemas.openxmlformats.org/officeDocument/2006/relationships/image" Target="../media/image2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9.png"/><Relationship Id="rId11" Type="http://schemas.openxmlformats.org/officeDocument/2006/relationships/image" Target="../media/image30.png"/><Relationship Id="rId5" Type="http://schemas.openxmlformats.org/officeDocument/2006/relationships/image" Target="../media/image22.png"/><Relationship Id="rId10" Type="http://schemas.openxmlformats.org/officeDocument/2006/relationships/image" Target="../media/image21.png"/><Relationship Id="rId4" Type="http://schemas.openxmlformats.org/officeDocument/2006/relationships/image" Target="../media/image9.png"/><Relationship Id="rId9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6.jpe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2.png"/><Relationship Id="rId5" Type="http://schemas.microsoft.com/office/2007/relationships/hdphoto" Target="../media/hdphoto2.wdp"/><Relationship Id="rId4" Type="http://schemas.openxmlformats.org/officeDocument/2006/relationships/image" Target="../media/image3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18.png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3.png"/><Relationship Id="rId12" Type="http://schemas.openxmlformats.org/officeDocument/2006/relationships/image" Target="../media/image17.png"/><Relationship Id="rId17" Type="http://schemas.openxmlformats.org/officeDocument/2006/relationships/image" Target="../media/image22.png"/><Relationship Id="rId2" Type="http://schemas.openxmlformats.org/officeDocument/2006/relationships/tags" Target="../tags/tag21.xml"/><Relationship Id="rId16" Type="http://schemas.openxmlformats.org/officeDocument/2006/relationships/image" Target="../media/image21.png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png"/><Relationship Id="rId11" Type="http://schemas.openxmlformats.org/officeDocument/2006/relationships/image" Target="../media/image16.png"/><Relationship Id="rId5" Type="http://schemas.openxmlformats.org/officeDocument/2006/relationships/image" Target="../media/image1.emf"/><Relationship Id="rId15" Type="http://schemas.openxmlformats.org/officeDocument/2006/relationships/image" Target="../media/image20.jpeg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21.bin"/><Relationship Id="rId9" Type="http://schemas.openxmlformats.org/officeDocument/2006/relationships/image" Target="../media/image14.png"/><Relationship Id="rId1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3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3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DA263A8-3665-43F3-814F-C282F80759C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5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DA263A8-3665-43F3-814F-C282F80759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6F59F653-BB8E-401E-BDB0-58BD8127941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1677" y="2012906"/>
            <a:ext cx="6156444" cy="2578188"/>
          </a:xfrm>
          <a:prstGeom prst="rect">
            <a:avLst/>
          </a:prstGeom>
        </p:spPr>
      </p:pic>
      <p:pic>
        <p:nvPicPr>
          <p:cNvPr id="7" name="Picture 6" descr="A picture containing sky, mountain, outdoor, nature&#10;&#10;Description automatically generated">
            <a:extLst>
              <a:ext uri="{FF2B5EF4-FFF2-40B4-BE49-F238E27FC236}">
                <a16:creationId xmlns:a16="http://schemas.microsoft.com/office/drawing/2014/main" id="{91BBDF9C-42C6-49E5-9487-46550843CC1D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309"/>
          <a:stretch/>
        </p:blipFill>
        <p:spPr>
          <a:xfrm>
            <a:off x="5671169" y="0"/>
            <a:ext cx="9708531" cy="6846824"/>
          </a:xfrm>
          <a:prstGeom prst="flowChartInputOutput">
            <a:avLst/>
          </a:prstGeom>
        </p:spPr>
      </p:pic>
    </p:spTree>
    <p:extLst>
      <p:ext uri="{BB962C8B-B14F-4D97-AF65-F5344CB8AC3E}">
        <p14:creationId xmlns:p14="http://schemas.microsoft.com/office/powerpoint/2010/main" val="215762170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6" name="Picture 8">
            <a:extLst>
              <a:ext uri="{FF2B5EF4-FFF2-40B4-BE49-F238E27FC236}">
                <a16:creationId xmlns:a16="http://schemas.microsoft.com/office/drawing/2014/main" id="{20F06E7D-701E-4A95-A6A8-62BFAEB7F14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6053B06-0B1F-400C-BAE0-2B81D554D410}"/>
              </a:ext>
            </a:extLst>
          </p:cNvPr>
          <p:cNvSpPr/>
          <p:nvPr/>
        </p:nvSpPr>
        <p:spPr>
          <a:xfrm>
            <a:off x="0" y="2032000"/>
            <a:ext cx="12192000" cy="24892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A2290F7-642D-4D5C-B868-0039AFD8530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17648" y="143111"/>
            <a:ext cx="1227086" cy="51387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891F14D3-96C8-4816-B96A-B9EA72A2084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0489" y="3117806"/>
            <a:ext cx="2318287" cy="1155942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6140DDB-D505-458B-8A15-C09D72788CC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54839" y="3202858"/>
            <a:ext cx="2251242" cy="985838"/>
          </a:xfrm>
          <a:prstGeom prst="rect">
            <a:avLst/>
          </a:prstGeom>
        </p:spPr>
      </p:pic>
      <p:pic>
        <p:nvPicPr>
          <p:cNvPr id="2060" name="Picture 12" descr="Important Customer Update - High Life Highland">
            <a:extLst>
              <a:ext uri="{FF2B5EF4-FFF2-40B4-BE49-F238E27FC236}">
                <a16:creationId xmlns:a16="http://schemas.microsoft.com/office/drawing/2014/main" id="{7018B7E9-0013-45CC-A5F6-DAFCC85F48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3791" y="2082560"/>
            <a:ext cx="2902857" cy="1306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2" name="Picture 14" descr="Home | Architecture &amp; Design Scotland">
            <a:extLst>
              <a:ext uri="{FF2B5EF4-FFF2-40B4-BE49-F238E27FC236}">
                <a16:creationId xmlns:a16="http://schemas.microsoft.com/office/drawing/2014/main" id="{69349E17-D286-4FD9-B8A8-1877274399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5070" y="2219983"/>
            <a:ext cx="2384675" cy="7948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4" name="Picture 16">
            <a:extLst>
              <a:ext uri="{FF2B5EF4-FFF2-40B4-BE49-F238E27FC236}">
                <a16:creationId xmlns:a16="http://schemas.microsoft.com/office/drawing/2014/main" id="{54D22C2F-A7F1-4CDB-B068-D7582793BC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4128" y="3028758"/>
            <a:ext cx="2544553" cy="1334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17818F2D-ADBF-49C5-8157-5E9D36497BE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980535" y="2177457"/>
            <a:ext cx="1575779" cy="79489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66DB62A-8525-4D4B-8246-015490D33E7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836322" y="2894108"/>
            <a:ext cx="2208412" cy="1397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75878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6" name="Picture 8">
            <a:extLst>
              <a:ext uri="{FF2B5EF4-FFF2-40B4-BE49-F238E27FC236}">
                <a16:creationId xmlns:a16="http://schemas.microsoft.com/office/drawing/2014/main" id="{20F06E7D-701E-4A95-A6A8-62BFAEB7F14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6053B06-0B1F-400C-BAE0-2B81D554D410}"/>
              </a:ext>
            </a:extLst>
          </p:cNvPr>
          <p:cNvSpPr/>
          <p:nvPr/>
        </p:nvSpPr>
        <p:spPr>
          <a:xfrm>
            <a:off x="0" y="2032000"/>
            <a:ext cx="12192000" cy="2489200"/>
          </a:xfrm>
          <a:prstGeom prst="rect">
            <a:avLst/>
          </a:prstGeom>
          <a:solidFill>
            <a:srgbClr val="FFFFFF">
              <a:alpha val="87843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F411A7F-E22E-4A1A-9FDF-6353685AD85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7750" r="90000">
                        <a14:foregroundMark x1="51750" y1="40000" x2="51750" y2="40000"/>
                        <a14:foregroundMark x1="46000" y1="34750" x2="46000" y2="34750"/>
                        <a14:foregroundMark x1="49250" y1="33250" x2="45000" y2="35000"/>
                        <a14:foregroundMark x1="84000" y1="38000" x2="71750" y2="43250"/>
                        <a14:foregroundMark x1="71750" y1="43250" x2="71750" y2="42750"/>
                        <a14:foregroundMark x1="90000" y1="39000" x2="90000" y2="39000"/>
                        <a14:foregroundMark x1="38250" y1="53250" x2="38250" y2="53250"/>
                        <a14:foregroundMark x1="31000" y1="76750" x2="65000" y2="66750"/>
                        <a14:foregroundMark x1="65000" y1="66750" x2="65000" y2="66750"/>
                        <a14:foregroundMark x1="30000" y1="75750" x2="64250" y2="66250"/>
                        <a14:foregroundMark x1="55000" y1="33000" x2="54250" y2="29750"/>
                        <a14:foregroundMark x1="8000" y1="42250" x2="37750" y2="35250"/>
                        <a14:foregroundMark x1="37750" y1="35250" x2="9750" y2="42250"/>
                        <a14:foregroundMark x1="7750" y1="45750" x2="39750" y2="36750"/>
                        <a14:foregroundMark x1="44000" y1="49000" x2="44000" y2="49000"/>
                        <a14:foregroundMark x1="43250" y1="43250" x2="49000" y2="57250"/>
                        <a14:foregroundMark x1="49000" y1="64000" x2="61750" y2="62250"/>
                        <a14:foregroundMark x1="61750" y1="62250" x2="62750" y2="62250"/>
                        <a14:foregroundMark x1="62750" y1="38000" x2="63000" y2="51250"/>
                        <a14:foregroundMark x1="63000" y1="51250" x2="60000" y2="55250"/>
                        <a14:foregroundMark x1="34000" y1="62000" x2="40000" y2="68250"/>
                        <a14:foregroundMark x1="33000" y1="73750" x2="32250" y2="71750"/>
                        <a14:foregroundMark x1="32250" y1="71750" x2="29250" y2="7125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51250" y="1371599"/>
            <a:ext cx="3810000" cy="3810000"/>
          </a:xfrm>
          <a:prstGeom prst="rect">
            <a:avLst/>
          </a:prstGeom>
        </p:spPr>
      </p:pic>
      <p:pic>
        <p:nvPicPr>
          <p:cNvPr id="2054" name="Picture 6">
            <a:extLst>
              <a:ext uri="{FF2B5EF4-FFF2-40B4-BE49-F238E27FC236}">
                <a16:creationId xmlns:a16="http://schemas.microsoft.com/office/drawing/2014/main" id="{6A06F04A-6D45-4C94-8918-6D30B20617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900" y="1669273"/>
            <a:ext cx="2333600" cy="32146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A2290F7-642D-4D5C-B868-0039AFD8530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817648" y="143111"/>
            <a:ext cx="1227086" cy="51387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417F6B1-7391-480F-B8DF-AA0FC7513E96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188" r="61864" b="52086"/>
          <a:stretch/>
        </p:blipFill>
        <p:spPr>
          <a:xfrm>
            <a:off x="8001000" y="2299344"/>
            <a:ext cx="3928960" cy="1954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21145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1E5CB0E-7385-40C8-9606-8AEF83D97DF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188" b="1"/>
          <a:stretch/>
        </p:blipFill>
        <p:spPr>
          <a:xfrm>
            <a:off x="114299" y="1010012"/>
            <a:ext cx="11284665" cy="4527188"/>
          </a:xfrm>
          <a:prstGeom prst="rect">
            <a:avLst/>
          </a:prstGeom>
        </p:spPr>
      </p:pic>
      <p:pic>
        <p:nvPicPr>
          <p:cNvPr id="7" name="Picture 6" descr="Diagram&#10;&#10;Description automatically generated with medium confidence">
            <a:extLst>
              <a:ext uri="{FF2B5EF4-FFF2-40B4-BE49-F238E27FC236}">
                <a16:creationId xmlns:a16="http://schemas.microsoft.com/office/drawing/2014/main" id="{299E36A2-B5A8-4801-8913-CC302F5A417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92" t="14060" r="12036" b="14060"/>
          <a:stretch/>
        </p:blipFill>
        <p:spPr>
          <a:xfrm>
            <a:off x="8102601" y="2805975"/>
            <a:ext cx="3975100" cy="3860801"/>
          </a:xfrm>
          <a:prstGeom prst="flowChartConnector">
            <a:avLst/>
          </a:prstGeom>
        </p:spPr>
      </p:pic>
    </p:spTree>
    <p:extLst>
      <p:ext uri="{BB962C8B-B14F-4D97-AF65-F5344CB8AC3E}">
        <p14:creationId xmlns:p14="http://schemas.microsoft.com/office/powerpoint/2010/main" val="19175033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Map&#10;&#10;Description automatically generated">
            <a:extLst>
              <a:ext uri="{FF2B5EF4-FFF2-40B4-BE49-F238E27FC236}">
                <a16:creationId xmlns:a16="http://schemas.microsoft.com/office/drawing/2014/main" id="{FB1C2C43-7C62-4D51-9B7C-B4E9A3778F5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1086"/>
          <a:stretch/>
        </p:blipFill>
        <p:spPr>
          <a:xfrm rot="5400000">
            <a:off x="5206937" y="691113"/>
            <a:ext cx="5525996" cy="6014011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4" descr="A group of people in a classroom&#10;&#10;Description automatically generated with low confidence">
            <a:extLst>
              <a:ext uri="{FF2B5EF4-FFF2-40B4-BE49-F238E27FC236}">
                <a16:creationId xmlns:a16="http://schemas.microsoft.com/office/drawing/2014/main" id="{47536DB8-5250-4814-B4EB-EC2ACD9E09A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-180804" y="1625870"/>
            <a:ext cx="5525995" cy="4144496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D228495-6F44-489A-962A-DFC5A70D138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0837" t="8695" r="12556" b="9563"/>
          <a:stretch/>
        </p:blipFill>
        <p:spPr>
          <a:xfrm>
            <a:off x="8825033" y="529389"/>
            <a:ext cx="2460395" cy="2246759"/>
          </a:xfrm>
          <a:prstGeom prst="flowChartConnector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084833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C376210-FDE0-4BE5-B5B9-ED7070DD43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56355" y="415851"/>
            <a:ext cx="5124713" cy="287669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38FECE5-7BD4-461E-B74B-CFAEC0A492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991" y="415851"/>
            <a:ext cx="5143764" cy="287669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52AA2F6-27ED-46C9-9652-2D875665345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0042" y="3429000"/>
            <a:ext cx="5124713" cy="290209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1859BC1-B948-45EB-9647-522E9ABBD28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88106" y="3429000"/>
            <a:ext cx="5092962" cy="289574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542871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F0BE7BF-3713-4220-B741-045833E109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0537" y="1903997"/>
            <a:ext cx="5680113" cy="3102388"/>
          </a:xfrm>
        </p:spPr>
        <p:txBody>
          <a:bodyPr/>
          <a:lstStyle/>
          <a:p>
            <a:r>
              <a:rPr lang="en-GB" sz="3200">
                <a:solidFill>
                  <a:schemeClr val="accent2"/>
                </a:solidFill>
                <a:latin typeface="Abadi" panose="020B0604020104020204" pitchFamily="34" charset="0"/>
              </a:rPr>
              <a:t>1. </a:t>
            </a:r>
            <a:r>
              <a:rPr lang="en-GB" sz="3200">
                <a:latin typeface="Abadi" panose="020B0604020104020204" pitchFamily="34" charset="0"/>
              </a:rPr>
              <a:t>Introduction to Highland Adapts and how we work</a:t>
            </a:r>
            <a:br>
              <a:rPr lang="en-GB" sz="3200">
                <a:latin typeface="Abadi" panose="020B0604020104020204" pitchFamily="34" charset="0"/>
              </a:rPr>
            </a:br>
            <a:br>
              <a:rPr lang="en-GB" sz="3200">
                <a:latin typeface="Abadi" panose="020B0604020104020204" pitchFamily="34" charset="0"/>
              </a:rPr>
            </a:br>
            <a:r>
              <a:rPr lang="en-GB" sz="3200">
                <a:solidFill>
                  <a:schemeClr val="accent2"/>
                </a:solidFill>
                <a:latin typeface="Abadi" panose="020B0604020104020204" pitchFamily="34" charset="0"/>
              </a:rPr>
              <a:t>2. </a:t>
            </a:r>
            <a:r>
              <a:rPr lang="en-GB" sz="3200">
                <a:latin typeface="Abadi" panose="020B0604020104020204" pitchFamily="34" charset="0"/>
              </a:rPr>
              <a:t>Place-based approach</a:t>
            </a:r>
            <a:br>
              <a:rPr lang="en-GB" sz="3200">
                <a:latin typeface="Abadi" panose="020B0604020104020204" pitchFamily="34" charset="0"/>
              </a:rPr>
            </a:br>
            <a:br>
              <a:rPr lang="en-GB" sz="3200">
                <a:latin typeface="Abadi" panose="020B0604020104020204" pitchFamily="34" charset="0"/>
              </a:rPr>
            </a:br>
            <a:r>
              <a:rPr lang="en-GB" sz="3200">
                <a:solidFill>
                  <a:schemeClr val="accent2"/>
                </a:solidFill>
                <a:latin typeface="Abadi" panose="020B0604020104020204" pitchFamily="34" charset="0"/>
              </a:rPr>
              <a:t>3. </a:t>
            </a:r>
            <a:r>
              <a:rPr lang="en-GB" sz="3200">
                <a:latin typeface="Abadi" panose="020B0604020104020204" pitchFamily="34" charset="0"/>
              </a:rPr>
              <a:t>Climate Risk and Opportunity Assessment</a:t>
            </a:r>
          </a:p>
        </p:txBody>
      </p:sp>
      <p:pic>
        <p:nvPicPr>
          <p:cNvPr id="8" name="Picture Placeholder 7" descr="A city next to a body of water&#10;&#10;Description automatically generated with low confidence">
            <a:extLst>
              <a:ext uri="{FF2B5EF4-FFF2-40B4-BE49-F238E27FC236}">
                <a16:creationId xmlns:a16="http://schemas.microsoft.com/office/drawing/2014/main" id="{26008C2C-D768-4E92-BC94-F2D75384AE8A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67" r="25067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079322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5BE0F1-DF33-4D13-9F96-165F22CF209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14486" y="3352800"/>
            <a:ext cx="6360787" cy="2419124"/>
          </a:xfrm>
        </p:spPr>
        <p:txBody>
          <a:bodyPr/>
          <a:lstStyle/>
          <a:p>
            <a:r>
              <a:rPr lang="en-US" sz="2800"/>
              <a:t>The purpose of the Highland Adapts initiative is to bring our communities, businesses, land managers and public sector together to facilitate transformational action towards a prosperous, climate-ready Highland.</a:t>
            </a:r>
          </a:p>
        </p:txBody>
      </p:sp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66FAEA48-72EF-45C7-B995-AAFA2830201E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1" b="1111"/>
          <a:stretch>
            <a:fillRect/>
          </a:stretch>
        </p:blipFill>
        <p:spPr/>
      </p:pic>
      <p:sp>
        <p:nvSpPr>
          <p:cNvPr id="5" name="Freeform: Shape 4">
            <a:extLst>
              <a:ext uri="{FF2B5EF4-FFF2-40B4-BE49-F238E27FC236}">
                <a16:creationId xmlns:a16="http://schemas.microsoft.com/office/drawing/2014/main" id="{3300FCE5-6D2F-4907-B44E-18FF001025BA}"/>
              </a:ext>
            </a:extLst>
          </p:cNvPr>
          <p:cNvSpPr/>
          <p:nvPr/>
        </p:nvSpPr>
        <p:spPr>
          <a:xfrm>
            <a:off x="0" y="0"/>
            <a:ext cx="12192000" cy="6705600"/>
          </a:xfrm>
          <a:custGeom>
            <a:avLst/>
            <a:gdLst>
              <a:gd name="connsiteX0" fmla="*/ 0 w 12192000"/>
              <a:gd name="connsiteY0" fmla="*/ 0 h 5755912"/>
              <a:gd name="connsiteX1" fmla="*/ 12192000 w 12192000"/>
              <a:gd name="connsiteY1" fmla="*/ 0 h 5755912"/>
              <a:gd name="connsiteX2" fmla="*/ 12192000 w 12192000"/>
              <a:gd name="connsiteY2" fmla="*/ 1210125 h 5755912"/>
              <a:gd name="connsiteX3" fmla="*/ 12101679 w 12192000"/>
              <a:gd name="connsiteY3" fmla="*/ 1281912 h 5755912"/>
              <a:gd name="connsiteX4" fmla="*/ 10944499 w 12192000"/>
              <a:gd name="connsiteY4" fmla="*/ 2428849 h 5755912"/>
              <a:gd name="connsiteX5" fmla="*/ 8968146 w 12192000"/>
              <a:gd name="connsiteY5" fmla="*/ 2554188 h 5755912"/>
              <a:gd name="connsiteX6" fmla="*/ 7261292 w 12192000"/>
              <a:gd name="connsiteY6" fmla="*/ 1435089 h 5755912"/>
              <a:gd name="connsiteX7" fmla="*/ 6901955 w 12192000"/>
              <a:gd name="connsiteY7" fmla="*/ 1256033 h 5755912"/>
              <a:gd name="connsiteX8" fmla="*/ 6246164 w 12192000"/>
              <a:gd name="connsiteY8" fmla="*/ 1972256 h 5755912"/>
              <a:gd name="connsiteX9" fmla="*/ 5105269 w 12192000"/>
              <a:gd name="connsiteY9" fmla="*/ 1873776 h 5755912"/>
              <a:gd name="connsiteX10" fmla="*/ 3631986 w 12192000"/>
              <a:gd name="connsiteY10" fmla="*/ 2330368 h 5755912"/>
              <a:gd name="connsiteX11" fmla="*/ 2850426 w 12192000"/>
              <a:gd name="connsiteY11" fmla="*/ 3709098 h 5755912"/>
              <a:gd name="connsiteX12" fmla="*/ 2571940 w 12192000"/>
              <a:gd name="connsiteY12" fmla="*/ 4416369 h 5755912"/>
              <a:gd name="connsiteX13" fmla="*/ 1161541 w 12192000"/>
              <a:gd name="connsiteY13" fmla="*/ 5087829 h 5755912"/>
              <a:gd name="connsiteX14" fmla="*/ 36804 w 12192000"/>
              <a:gd name="connsiteY14" fmla="*/ 5697350 h 5755912"/>
              <a:gd name="connsiteX15" fmla="*/ 0 w 12192000"/>
              <a:gd name="connsiteY15" fmla="*/ 5755912 h 5755912"/>
              <a:gd name="connsiteX16" fmla="*/ 0 w 12192000"/>
              <a:gd name="connsiteY16" fmla="*/ 0 h 5755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2192000" h="5755912">
                <a:moveTo>
                  <a:pt x="0" y="0"/>
                </a:moveTo>
                <a:lnTo>
                  <a:pt x="12192000" y="0"/>
                </a:lnTo>
                <a:lnTo>
                  <a:pt x="12192000" y="1210125"/>
                </a:lnTo>
                <a:lnTo>
                  <a:pt x="12101679" y="1281912"/>
                </a:lnTo>
                <a:cubicBezTo>
                  <a:pt x="11695740" y="1626454"/>
                  <a:pt x="11395917" y="2133407"/>
                  <a:pt x="10944499" y="2428849"/>
                </a:cubicBezTo>
                <a:cubicBezTo>
                  <a:pt x="10369560" y="2795913"/>
                  <a:pt x="9614951" y="2786961"/>
                  <a:pt x="8968146" y="2554188"/>
                </a:cubicBezTo>
                <a:cubicBezTo>
                  <a:pt x="8330322" y="2312463"/>
                  <a:pt x="7782330" y="1882728"/>
                  <a:pt x="7261292" y="1435089"/>
                </a:cubicBezTo>
                <a:cubicBezTo>
                  <a:pt x="7162474" y="1345560"/>
                  <a:pt x="7045691" y="1256033"/>
                  <a:pt x="6901955" y="1256033"/>
                </a:cubicBezTo>
                <a:cubicBezTo>
                  <a:pt x="6569567" y="1256033"/>
                  <a:pt x="6515668" y="1766342"/>
                  <a:pt x="6246164" y="1972256"/>
                </a:cubicBezTo>
                <a:cubicBezTo>
                  <a:pt x="5931745" y="2213982"/>
                  <a:pt x="5491555" y="1963303"/>
                  <a:pt x="5105269" y="1873776"/>
                </a:cubicBezTo>
                <a:cubicBezTo>
                  <a:pt x="4584230" y="1748436"/>
                  <a:pt x="4018272" y="1963303"/>
                  <a:pt x="3631986" y="2330368"/>
                </a:cubicBezTo>
                <a:cubicBezTo>
                  <a:pt x="3245698" y="2697432"/>
                  <a:pt x="3003145" y="3198789"/>
                  <a:pt x="2850426" y="3709098"/>
                </a:cubicBezTo>
                <a:cubicBezTo>
                  <a:pt x="2778558" y="3950824"/>
                  <a:pt x="2724659" y="4201502"/>
                  <a:pt x="2571940" y="4416369"/>
                </a:cubicBezTo>
                <a:cubicBezTo>
                  <a:pt x="2266503" y="4855056"/>
                  <a:pt x="1682580" y="4962489"/>
                  <a:pt x="1161541" y="5087829"/>
                </a:cubicBezTo>
                <a:cubicBezTo>
                  <a:pt x="738196" y="5189667"/>
                  <a:pt x="273338" y="5362428"/>
                  <a:pt x="36804" y="5697350"/>
                </a:cubicBezTo>
                <a:lnTo>
                  <a:pt x="0" y="5755912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50000"/>
              <a:alpha val="84000"/>
            </a:schemeClr>
          </a:solidFill>
          <a:ln>
            <a:noFill/>
          </a:ln>
          <a:effectLst>
            <a:outerShdw blurRad="1270000" sx="102000" sy="102000" algn="ct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DBCCB94A-8842-4BDB-8BF8-727D771B0236}"/>
              </a:ext>
            </a:extLst>
          </p:cNvPr>
          <p:cNvSpPr/>
          <p:nvPr/>
        </p:nvSpPr>
        <p:spPr>
          <a:xfrm>
            <a:off x="11518392" y="0"/>
            <a:ext cx="673609" cy="719328"/>
          </a:xfrm>
          <a:custGeom>
            <a:avLst/>
            <a:gdLst>
              <a:gd name="connsiteX0" fmla="*/ 23358 w 673609"/>
              <a:gd name="connsiteY0" fmla="*/ 0 h 719328"/>
              <a:gd name="connsiteX1" fmla="*/ 191463 w 673609"/>
              <a:gd name="connsiteY1" fmla="*/ 0 h 719328"/>
              <a:gd name="connsiteX2" fmla="*/ 169532 w 673609"/>
              <a:gd name="connsiteY2" fmla="*/ 70650 h 719328"/>
              <a:gd name="connsiteX3" fmla="*/ 161291 w 673609"/>
              <a:gd name="connsiteY3" fmla="*/ 152400 h 719328"/>
              <a:gd name="connsiteX4" fmla="*/ 566928 w 673609"/>
              <a:gd name="connsiteY4" fmla="*/ 558037 h 719328"/>
              <a:gd name="connsiteX5" fmla="*/ 648678 w 673609"/>
              <a:gd name="connsiteY5" fmla="*/ 549796 h 719328"/>
              <a:gd name="connsiteX6" fmla="*/ 673609 w 673609"/>
              <a:gd name="connsiteY6" fmla="*/ 542057 h 719328"/>
              <a:gd name="connsiteX7" fmla="*/ 673609 w 673609"/>
              <a:gd name="connsiteY7" fmla="*/ 708574 h 719328"/>
              <a:gd name="connsiteX8" fmla="*/ 566928 w 673609"/>
              <a:gd name="connsiteY8" fmla="*/ 719328 h 719328"/>
              <a:gd name="connsiteX9" fmla="*/ 0 w 673609"/>
              <a:gd name="connsiteY9" fmla="*/ 152400 h 719328"/>
              <a:gd name="connsiteX10" fmla="*/ 11518 w 673609"/>
              <a:gd name="connsiteY10" fmla="*/ 38144 h 719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73609" h="719328">
                <a:moveTo>
                  <a:pt x="23358" y="0"/>
                </a:moveTo>
                <a:lnTo>
                  <a:pt x="191463" y="0"/>
                </a:lnTo>
                <a:lnTo>
                  <a:pt x="169532" y="70650"/>
                </a:lnTo>
                <a:cubicBezTo>
                  <a:pt x="164129" y="97056"/>
                  <a:pt x="161291" y="124397"/>
                  <a:pt x="161291" y="152400"/>
                </a:cubicBezTo>
                <a:cubicBezTo>
                  <a:pt x="161291" y="376427"/>
                  <a:pt x="342901" y="558037"/>
                  <a:pt x="566928" y="558037"/>
                </a:cubicBezTo>
                <a:cubicBezTo>
                  <a:pt x="594931" y="558037"/>
                  <a:pt x="622272" y="555200"/>
                  <a:pt x="648678" y="549796"/>
                </a:cubicBezTo>
                <a:lnTo>
                  <a:pt x="673609" y="542057"/>
                </a:lnTo>
                <a:lnTo>
                  <a:pt x="673609" y="708574"/>
                </a:lnTo>
                <a:lnTo>
                  <a:pt x="566928" y="719328"/>
                </a:lnTo>
                <a:cubicBezTo>
                  <a:pt x="253822" y="719328"/>
                  <a:pt x="0" y="465506"/>
                  <a:pt x="0" y="152400"/>
                </a:cubicBezTo>
                <a:cubicBezTo>
                  <a:pt x="0" y="113262"/>
                  <a:pt x="3966" y="75050"/>
                  <a:pt x="11518" y="38144"/>
                </a:cubicBezTo>
                <a:close/>
              </a:path>
            </a:pathLst>
          </a:custGeom>
          <a:solidFill>
            <a:srgbClr val="26B068"/>
          </a:solidFill>
          <a:ln>
            <a:noFill/>
          </a:ln>
          <a:effectLst>
            <a:outerShdw blurRad="622300" sx="102000" sy="102000" algn="ctr" rotWithShape="0">
              <a:prstClr val="black">
                <a:alpha val="8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7E99AB9-A396-4967-BDEB-9F39379058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860" y="171193"/>
            <a:ext cx="4960156" cy="2077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7412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9CBC4A1-39F3-417A-A9E1-6D0FC1F9C5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9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9CBC4A1-39F3-417A-A9E1-6D0FC1F9C5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D32C9BF-EC28-4AF1-B238-8DE7E3A8E5A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36954"/>
            <a:ext cx="12192000" cy="2222339"/>
          </a:xfrm>
        </p:spPr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8DD4E2F3-F2DB-4BC5-8F78-9806A1E52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ighland Adapts Founding Partners 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3897406-7C70-4F6A-89E6-4DE38DDA5A7F}"/>
              </a:ext>
            </a:extLst>
          </p:cNvPr>
          <p:cNvGrpSpPr/>
          <p:nvPr/>
        </p:nvGrpSpPr>
        <p:grpSpPr>
          <a:xfrm>
            <a:off x="10696601" y="257088"/>
            <a:ext cx="1190600" cy="498598"/>
            <a:chOff x="10696601" y="257088"/>
            <a:chExt cx="1190600" cy="498598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02578BA9-54B5-44BB-9589-D2574C6A4E6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7761"/>
            <a:stretch/>
          </p:blipFill>
          <p:spPr>
            <a:xfrm>
              <a:off x="10696601" y="257088"/>
              <a:ext cx="502894" cy="498598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2FBBA9CD-F836-488D-BCF4-BC29AB6303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2239"/>
            <a:stretch/>
          </p:blipFill>
          <p:spPr>
            <a:xfrm>
              <a:off x="11199495" y="257088"/>
              <a:ext cx="687706" cy="498598"/>
            </a:xfrm>
            <a:prstGeom prst="rect">
              <a:avLst/>
            </a:prstGeom>
          </p:spPr>
        </p:pic>
      </p:grpSp>
      <p:pic>
        <p:nvPicPr>
          <p:cNvPr id="8" name="Picture 2" descr="e03c2849-94f3-4227-bac7-35e2dd8069c7">
            <a:extLst>
              <a:ext uri="{FF2B5EF4-FFF2-40B4-BE49-F238E27FC236}">
                <a16:creationId xmlns:a16="http://schemas.microsoft.com/office/drawing/2014/main" id="{826A7A61-A795-41B4-98F3-9CFA684D85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1" y="3049917"/>
            <a:ext cx="1493128" cy="1179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8062A32-CAB0-46BC-9B84-8DFCD95BC36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278915" y="3487483"/>
            <a:ext cx="2655224" cy="86811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FE0D3C3-2D48-4CE0-86BB-DA53A48679A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152347" y="3678088"/>
            <a:ext cx="1591401" cy="159140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1FB398B-9FB9-43B8-A8AE-AABB2891E20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965422" y="2524726"/>
            <a:ext cx="3376614" cy="98583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AB8977D3-E40D-440F-BAE6-BE8587E41E1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93917" y="5065487"/>
            <a:ext cx="2655225" cy="114624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273C338-058E-4957-8250-1ED3A888D94A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286574" y="4675113"/>
            <a:ext cx="2251242" cy="985838"/>
          </a:xfrm>
          <a:prstGeom prst="rect">
            <a:avLst/>
          </a:prstGeom>
        </p:spPr>
      </p:pic>
      <p:pic>
        <p:nvPicPr>
          <p:cNvPr id="19" name="Picture 18" descr="Logo, company name&#10;&#10;Description automatically generated">
            <a:extLst>
              <a:ext uri="{FF2B5EF4-FFF2-40B4-BE49-F238E27FC236}">
                <a16:creationId xmlns:a16="http://schemas.microsoft.com/office/drawing/2014/main" id="{E98CE323-0063-4661-8E7D-5EA5D9443E75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5172" y="2885427"/>
            <a:ext cx="2570492" cy="1965733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9CEDE79-845C-40CD-8FF8-61D9DFA4C488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442623" y="4514707"/>
            <a:ext cx="2272292" cy="1146245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5CABB73-FB73-4FDB-9F0B-E58821F18980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334063" y="5349758"/>
            <a:ext cx="2318287" cy="1155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3511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9CBC4A1-39F3-417A-A9E1-6D0FC1F9C5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3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9CBC4A1-39F3-417A-A9E1-6D0FC1F9C5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D32C9BF-EC28-4AF1-B238-8DE7E3A8E5A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8DD4E2F3-F2DB-4BC5-8F78-9806A1E525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1" y="1418774"/>
            <a:ext cx="11582400" cy="498598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Guiding Principles 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3897406-7C70-4F6A-89E6-4DE38DDA5A7F}"/>
              </a:ext>
            </a:extLst>
          </p:cNvPr>
          <p:cNvGrpSpPr/>
          <p:nvPr/>
        </p:nvGrpSpPr>
        <p:grpSpPr>
          <a:xfrm>
            <a:off x="10696601" y="257088"/>
            <a:ext cx="1190600" cy="498598"/>
            <a:chOff x="10696601" y="257088"/>
            <a:chExt cx="1190600" cy="498598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02578BA9-54B5-44BB-9589-D2574C6A4E6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7761"/>
            <a:stretch/>
          </p:blipFill>
          <p:spPr>
            <a:xfrm>
              <a:off x="10696601" y="257088"/>
              <a:ext cx="502894" cy="498598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2FBBA9CD-F836-488D-BCF4-BC29AB6303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2239"/>
            <a:stretch/>
          </p:blipFill>
          <p:spPr>
            <a:xfrm>
              <a:off x="11199495" y="257088"/>
              <a:ext cx="687706" cy="498598"/>
            </a:xfrm>
            <a:prstGeom prst="rect">
              <a:avLst/>
            </a:prstGeom>
          </p:spPr>
        </p:pic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A2E2E8D0-DBE9-4385-BB97-75F51BA8ACCF}"/>
              </a:ext>
            </a:extLst>
          </p:cNvPr>
          <p:cNvSpPr txBox="1"/>
          <p:nvPr/>
        </p:nvSpPr>
        <p:spPr>
          <a:xfrm>
            <a:off x="447675" y="2304402"/>
            <a:ext cx="11439526" cy="4227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nsformational Action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– through brave leadership, we embed hope and prioritise action.</a:t>
            </a: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on – 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acilitate working together and the sharing of knowledge, expertise and resources. </a:t>
            </a: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lace-based – 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 are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lace-centred, with an approach that is bottom-up and fully inclusive.</a:t>
            </a: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vidence-based – 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ll our action is supported by up to date qualitative and quantitative data.</a:t>
            </a: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stainable – 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 only endorse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obust, resilient and future-proof actions using the blueprint of the UN Sustainable Development Goals to achieve a flourishing, climate-ready future for all.</a:t>
            </a: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fluence – 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 use our presence and connections to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pport cultural change </a:t>
            </a: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limate and social justice 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– our work is</a:t>
            </a: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ooted in a deep understanding of the needs and priorities of communities.</a:t>
            </a: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uild capacity – 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rough education, knowledge sharing and facilitating connections we increase confidence and the ability to adapt in others</a:t>
            </a: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elebrate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– we communicate and promote ongoing inspiring climate action and initiatives.</a:t>
            </a: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mpower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– we enable communities/places to increase control over their ability to adapt to and mitigate climate change.</a:t>
            </a: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6967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9CBC4A1-39F3-417A-A9E1-6D0FC1F9C5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7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9CBC4A1-39F3-417A-A9E1-6D0FC1F9C5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D32C9BF-EC28-4AF1-B238-8DE7E3A8E5A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8DD4E2F3-F2DB-4BC5-8F78-9806A1E525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1" y="1418774"/>
            <a:ext cx="11582400" cy="498598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Partnership Objectives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3897406-7C70-4F6A-89E6-4DE38DDA5A7F}"/>
              </a:ext>
            </a:extLst>
          </p:cNvPr>
          <p:cNvGrpSpPr/>
          <p:nvPr/>
        </p:nvGrpSpPr>
        <p:grpSpPr>
          <a:xfrm>
            <a:off x="10696601" y="257088"/>
            <a:ext cx="1190600" cy="498598"/>
            <a:chOff x="10696601" y="257088"/>
            <a:chExt cx="1190600" cy="498598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02578BA9-54B5-44BB-9589-D2574C6A4E6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7761"/>
            <a:stretch/>
          </p:blipFill>
          <p:spPr>
            <a:xfrm>
              <a:off x="10696601" y="257088"/>
              <a:ext cx="502894" cy="498598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2FBBA9CD-F836-488D-BCF4-BC29AB6303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2239"/>
            <a:stretch/>
          </p:blipFill>
          <p:spPr>
            <a:xfrm>
              <a:off x="11199495" y="257088"/>
              <a:ext cx="687706" cy="498598"/>
            </a:xfrm>
            <a:prstGeom prst="rect">
              <a:avLst/>
            </a:prstGeom>
          </p:spPr>
        </p:pic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A2E2E8D0-DBE9-4385-BB97-75F51BA8ACCF}"/>
              </a:ext>
            </a:extLst>
          </p:cNvPr>
          <p:cNvSpPr txBox="1"/>
          <p:nvPr/>
        </p:nvSpPr>
        <p:spPr>
          <a:xfrm>
            <a:off x="304801" y="2222339"/>
            <a:ext cx="11439526" cy="45238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 a strong knowledge and evidence base, setting out the climate risks and opportunities that will affect the region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acilitate information sharing through a range of resources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dentify opportunities to reduce and overcome these climate risk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 a shared adaptation strategy and suite of action plan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pport others to use plans to form the basis of projects and activities across the public sector, community, land management and business sector plans, strategies and investment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pport the public sector to embed climate change adaptation throughout their business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pport community climate change action.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9818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A32D42E-7981-4FC2-9A77-B44F8E032F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1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A32D42E-7981-4FC2-9A77-B44F8E032F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1BA3AE1-832F-4DB3-96DA-A5546E0AEF6A}"/>
              </a:ext>
            </a:extLst>
          </p:cNvPr>
          <p:cNvSpPr/>
          <p:nvPr/>
        </p:nvSpPr>
        <p:spPr>
          <a:xfrm flipV="1">
            <a:off x="0" y="5120645"/>
            <a:ext cx="12191999" cy="1737355"/>
          </a:xfrm>
          <a:custGeom>
            <a:avLst/>
            <a:gdLst>
              <a:gd name="connsiteX0" fmla="*/ 0 w 12192000"/>
              <a:gd name="connsiteY0" fmla="*/ 0 h 4777008"/>
              <a:gd name="connsiteX1" fmla="*/ 12192000 w 12192000"/>
              <a:gd name="connsiteY1" fmla="*/ 0 h 4777008"/>
              <a:gd name="connsiteX2" fmla="*/ 12192000 w 12192000"/>
              <a:gd name="connsiteY2" fmla="*/ 4479132 h 4777008"/>
              <a:gd name="connsiteX3" fmla="*/ 11905530 w 12192000"/>
              <a:gd name="connsiteY3" fmla="*/ 4587234 h 4777008"/>
              <a:gd name="connsiteX4" fmla="*/ 11562713 w 12192000"/>
              <a:gd name="connsiteY4" fmla="*/ 4679060 h 4777008"/>
              <a:gd name="connsiteX5" fmla="*/ 11128069 w 12192000"/>
              <a:gd name="connsiteY5" fmla="*/ 4752521 h 4777008"/>
              <a:gd name="connsiteX6" fmla="*/ 10699548 w 12192000"/>
              <a:gd name="connsiteY6" fmla="*/ 4777008 h 4777008"/>
              <a:gd name="connsiteX7" fmla="*/ 10301635 w 12192000"/>
              <a:gd name="connsiteY7" fmla="*/ 4764765 h 4777008"/>
              <a:gd name="connsiteX8" fmla="*/ 9903721 w 12192000"/>
              <a:gd name="connsiteY8" fmla="*/ 4703547 h 4777008"/>
              <a:gd name="connsiteX9" fmla="*/ 9518052 w 12192000"/>
              <a:gd name="connsiteY9" fmla="*/ 4593356 h 4777008"/>
              <a:gd name="connsiteX10" fmla="*/ 9144626 w 12192000"/>
              <a:gd name="connsiteY10" fmla="*/ 4452555 h 4777008"/>
              <a:gd name="connsiteX11" fmla="*/ 8612034 w 12192000"/>
              <a:gd name="connsiteY11" fmla="*/ 4244416 h 4777008"/>
              <a:gd name="connsiteX12" fmla="*/ 8073321 w 12192000"/>
              <a:gd name="connsiteY12" fmla="*/ 4073007 h 4777008"/>
              <a:gd name="connsiteX13" fmla="*/ 7516243 w 12192000"/>
              <a:gd name="connsiteY13" fmla="*/ 3950572 h 4777008"/>
              <a:gd name="connsiteX14" fmla="*/ 6965287 w 12192000"/>
              <a:gd name="connsiteY14" fmla="*/ 3864868 h 4777008"/>
              <a:gd name="connsiteX15" fmla="*/ 6402086 w 12192000"/>
              <a:gd name="connsiteY15" fmla="*/ 3822016 h 4777008"/>
              <a:gd name="connsiteX16" fmla="*/ 5838888 w 12192000"/>
              <a:gd name="connsiteY16" fmla="*/ 3822016 h 4777008"/>
              <a:gd name="connsiteX17" fmla="*/ 5275688 w 12192000"/>
              <a:gd name="connsiteY17" fmla="*/ 3858746 h 4777008"/>
              <a:gd name="connsiteX18" fmla="*/ 4718609 w 12192000"/>
              <a:gd name="connsiteY18" fmla="*/ 3932207 h 4777008"/>
              <a:gd name="connsiteX19" fmla="*/ 4167652 w 12192000"/>
              <a:gd name="connsiteY19" fmla="*/ 4060764 h 4777008"/>
              <a:gd name="connsiteX20" fmla="*/ 3628939 w 12192000"/>
              <a:gd name="connsiteY20" fmla="*/ 4219929 h 4777008"/>
              <a:gd name="connsiteX21" fmla="*/ 3096347 w 12192000"/>
              <a:gd name="connsiteY21" fmla="*/ 4428068 h 4777008"/>
              <a:gd name="connsiteX22" fmla="*/ 3041252 w 12192000"/>
              <a:gd name="connsiteY22" fmla="*/ 4452555 h 4777008"/>
              <a:gd name="connsiteX23" fmla="*/ 2655582 w 12192000"/>
              <a:gd name="connsiteY23" fmla="*/ 4605599 h 4777008"/>
              <a:gd name="connsiteX24" fmla="*/ 2251547 w 12192000"/>
              <a:gd name="connsiteY24" fmla="*/ 4703547 h 4777008"/>
              <a:gd name="connsiteX25" fmla="*/ 1847513 w 12192000"/>
              <a:gd name="connsiteY25" fmla="*/ 4764765 h 4777008"/>
              <a:gd name="connsiteX26" fmla="*/ 1443478 w 12192000"/>
              <a:gd name="connsiteY26" fmla="*/ 4777008 h 4777008"/>
              <a:gd name="connsiteX27" fmla="*/ 1033321 w 12192000"/>
              <a:gd name="connsiteY27" fmla="*/ 4752521 h 4777008"/>
              <a:gd name="connsiteX28" fmla="*/ 623165 w 12192000"/>
              <a:gd name="connsiteY28" fmla="*/ 4679060 h 4777008"/>
              <a:gd name="connsiteX29" fmla="*/ 280347 w 12192000"/>
              <a:gd name="connsiteY29" fmla="*/ 4587234 h 4777008"/>
              <a:gd name="connsiteX30" fmla="*/ 0 w 12192000"/>
              <a:gd name="connsiteY30" fmla="*/ 4483402 h 47770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2192000" h="4777008">
                <a:moveTo>
                  <a:pt x="0" y="0"/>
                </a:moveTo>
                <a:lnTo>
                  <a:pt x="12192000" y="0"/>
                </a:lnTo>
                <a:lnTo>
                  <a:pt x="12192000" y="4479132"/>
                </a:lnTo>
                <a:lnTo>
                  <a:pt x="11905530" y="4587234"/>
                </a:lnTo>
                <a:lnTo>
                  <a:pt x="11562713" y="4679060"/>
                </a:lnTo>
                <a:lnTo>
                  <a:pt x="11128069" y="4752521"/>
                </a:lnTo>
                <a:lnTo>
                  <a:pt x="10699548" y="4777008"/>
                </a:lnTo>
                <a:lnTo>
                  <a:pt x="10301635" y="4764765"/>
                </a:lnTo>
                <a:lnTo>
                  <a:pt x="9903721" y="4703547"/>
                </a:lnTo>
                <a:lnTo>
                  <a:pt x="9518052" y="4593356"/>
                </a:lnTo>
                <a:lnTo>
                  <a:pt x="9144626" y="4452555"/>
                </a:lnTo>
                <a:lnTo>
                  <a:pt x="8612034" y="4244416"/>
                </a:lnTo>
                <a:lnTo>
                  <a:pt x="8073321" y="4073007"/>
                </a:lnTo>
                <a:lnTo>
                  <a:pt x="7516243" y="3950572"/>
                </a:lnTo>
                <a:lnTo>
                  <a:pt x="6965287" y="3864868"/>
                </a:lnTo>
                <a:lnTo>
                  <a:pt x="6402086" y="3822016"/>
                </a:lnTo>
                <a:lnTo>
                  <a:pt x="5838888" y="3822016"/>
                </a:lnTo>
                <a:lnTo>
                  <a:pt x="5275688" y="3858746"/>
                </a:lnTo>
                <a:lnTo>
                  <a:pt x="4718609" y="3932207"/>
                </a:lnTo>
                <a:lnTo>
                  <a:pt x="4167652" y="4060764"/>
                </a:lnTo>
                <a:lnTo>
                  <a:pt x="3628939" y="4219929"/>
                </a:lnTo>
                <a:lnTo>
                  <a:pt x="3096347" y="4428068"/>
                </a:lnTo>
                <a:lnTo>
                  <a:pt x="3041252" y="4452555"/>
                </a:lnTo>
                <a:lnTo>
                  <a:pt x="2655582" y="4605599"/>
                </a:lnTo>
                <a:lnTo>
                  <a:pt x="2251547" y="4703547"/>
                </a:lnTo>
                <a:lnTo>
                  <a:pt x="1847513" y="4764765"/>
                </a:lnTo>
                <a:lnTo>
                  <a:pt x="1443478" y="4777008"/>
                </a:lnTo>
                <a:lnTo>
                  <a:pt x="1033321" y="4752521"/>
                </a:lnTo>
                <a:lnTo>
                  <a:pt x="623165" y="4679060"/>
                </a:lnTo>
                <a:lnTo>
                  <a:pt x="280347" y="4587234"/>
                </a:lnTo>
                <a:lnTo>
                  <a:pt x="0" y="4483402"/>
                </a:lnTo>
                <a:close/>
              </a:path>
            </a:pathLst>
          </a:custGeom>
          <a:solidFill>
            <a:srgbClr val="00B050">
              <a:alpha val="3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AC59AB88-4D9D-4AE9-91FA-5F40E6999FC2}"/>
              </a:ext>
            </a:extLst>
          </p:cNvPr>
          <p:cNvSpPr/>
          <p:nvPr/>
        </p:nvSpPr>
        <p:spPr>
          <a:xfrm>
            <a:off x="447554" y="1112046"/>
            <a:ext cx="5648445" cy="5225254"/>
          </a:xfrm>
          <a:custGeom>
            <a:avLst/>
            <a:gdLst>
              <a:gd name="connsiteX0" fmla="*/ 2515868 w 4732449"/>
              <a:gd name="connsiteY0" fmla="*/ 0 h 4433163"/>
              <a:gd name="connsiteX1" fmla="*/ 4732449 w 4732449"/>
              <a:gd name="connsiteY1" fmla="*/ 2216581 h 4433163"/>
              <a:gd name="connsiteX2" fmla="*/ 2515868 w 4732449"/>
              <a:gd name="connsiteY2" fmla="*/ 4433163 h 4433163"/>
              <a:gd name="connsiteX3" fmla="*/ 1653074 w 4732449"/>
              <a:gd name="connsiteY3" fmla="*/ 4258973 h 4433163"/>
              <a:gd name="connsiteX4" fmla="*/ 1635048 w 4732449"/>
              <a:gd name="connsiteY4" fmla="*/ 4250290 h 4433163"/>
              <a:gd name="connsiteX5" fmla="*/ 1629139 w 4732449"/>
              <a:gd name="connsiteY5" fmla="*/ 4254708 h 4433163"/>
              <a:gd name="connsiteX6" fmla="*/ 1044917 w 4732449"/>
              <a:gd name="connsiteY6" fmla="*/ 4433163 h 4433163"/>
              <a:gd name="connsiteX7" fmla="*/ 0 w 4732449"/>
              <a:gd name="connsiteY7" fmla="*/ 3388247 h 4433163"/>
              <a:gd name="connsiteX8" fmla="*/ 306049 w 4732449"/>
              <a:gd name="connsiteY8" fmla="*/ 2649379 h 4433163"/>
              <a:gd name="connsiteX9" fmla="*/ 337792 w 4732449"/>
              <a:gd name="connsiteY9" fmla="*/ 2620530 h 4433163"/>
              <a:gd name="connsiteX10" fmla="*/ 310730 w 4732449"/>
              <a:gd name="connsiteY10" fmla="*/ 2443214 h 4433163"/>
              <a:gd name="connsiteX11" fmla="*/ 299286 w 4732449"/>
              <a:gd name="connsiteY11" fmla="*/ 2216581 h 4433163"/>
              <a:gd name="connsiteX12" fmla="*/ 2515868 w 4732449"/>
              <a:gd name="connsiteY12" fmla="*/ 0 h 4433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732449" h="4433163">
                <a:moveTo>
                  <a:pt x="2515868" y="0"/>
                </a:moveTo>
                <a:cubicBezTo>
                  <a:pt x="3740052" y="0"/>
                  <a:pt x="4732449" y="992397"/>
                  <a:pt x="4732449" y="2216581"/>
                </a:cubicBezTo>
                <a:cubicBezTo>
                  <a:pt x="4732449" y="3440766"/>
                  <a:pt x="3740052" y="4433163"/>
                  <a:pt x="2515868" y="4433163"/>
                </a:cubicBezTo>
                <a:cubicBezTo>
                  <a:pt x="2209822" y="4433163"/>
                  <a:pt x="1918262" y="4371138"/>
                  <a:pt x="1653074" y="4258973"/>
                </a:cubicBezTo>
                <a:lnTo>
                  <a:pt x="1635048" y="4250290"/>
                </a:lnTo>
                <a:lnTo>
                  <a:pt x="1629139" y="4254708"/>
                </a:lnTo>
                <a:cubicBezTo>
                  <a:pt x="1462370" y="4367375"/>
                  <a:pt x="1261326" y="4433163"/>
                  <a:pt x="1044917" y="4433163"/>
                </a:cubicBezTo>
                <a:cubicBezTo>
                  <a:pt x="467825" y="4433163"/>
                  <a:pt x="0" y="3965338"/>
                  <a:pt x="0" y="3388247"/>
                </a:cubicBezTo>
                <a:cubicBezTo>
                  <a:pt x="0" y="3099701"/>
                  <a:pt x="116956" y="2838472"/>
                  <a:pt x="306049" y="2649379"/>
                </a:cubicBezTo>
                <a:lnTo>
                  <a:pt x="337792" y="2620530"/>
                </a:lnTo>
                <a:lnTo>
                  <a:pt x="310730" y="2443214"/>
                </a:lnTo>
                <a:cubicBezTo>
                  <a:pt x="303163" y="2368699"/>
                  <a:pt x="299286" y="2293093"/>
                  <a:pt x="299286" y="2216581"/>
                </a:cubicBezTo>
                <a:cubicBezTo>
                  <a:pt x="299286" y="992397"/>
                  <a:pt x="1291683" y="0"/>
                  <a:pt x="2515868" y="0"/>
                </a:cubicBezTo>
                <a:close/>
              </a:path>
            </a:pathLst>
          </a:custGeom>
          <a:solidFill>
            <a:srgbClr val="0090B9"/>
          </a:solidFill>
          <a:ln>
            <a:noFill/>
          </a:ln>
          <a:effectLst>
            <a:outerShdw blurRad="330200" dist="330200" dir="8100000" algn="tr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82723EAC-E336-4920-8F38-E360DAC73E72}"/>
              </a:ext>
            </a:extLst>
          </p:cNvPr>
          <p:cNvSpPr/>
          <p:nvPr/>
        </p:nvSpPr>
        <p:spPr>
          <a:xfrm>
            <a:off x="11296892" y="0"/>
            <a:ext cx="895108" cy="875128"/>
          </a:xfrm>
          <a:custGeom>
            <a:avLst/>
            <a:gdLst>
              <a:gd name="connsiteX0" fmla="*/ 23459 w 895108"/>
              <a:gd name="connsiteY0" fmla="*/ 0 h 875128"/>
              <a:gd name="connsiteX1" fmla="*/ 213746 w 895108"/>
              <a:gd name="connsiteY1" fmla="*/ 0 h 875128"/>
              <a:gd name="connsiteX2" fmla="*/ 193164 w 895108"/>
              <a:gd name="connsiteY2" fmla="*/ 66305 h 875128"/>
              <a:gd name="connsiteX3" fmla="*/ 182575 w 895108"/>
              <a:gd name="connsiteY3" fmla="*/ 171346 h 875128"/>
              <a:gd name="connsiteX4" fmla="*/ 703782 w 895108"/>
              <a:gd name="connsiteY4" fmla="*/ 692553 h 875128"/>
              <a:gd name="connsiteX5" fmla="*/ 808823 w 895108"/>
              <a:gd name="connsiteY5" fmla="*/ 681964 h 875128"/>
              <a:gd name="connsiteX6" fmla="*/ 895108 w 895108"/>
              <a:gd name="connsiteY6" fmla="*/ 655180 h 875128"/>
              <a:gd name="connsiteX7" fmla="*/ 895108 w 895108"/>
              <a:gd name="connsiteY7" fmla="*/ 845467 h 875128"/>
              <a:gd name="connsiteX8" fmla="*/ 845619 w 895108"/>
              <a:gd name="connsiteY8" fmla="*/ 860830 h 875128"/>
              <a:gd name="connsiteX9" fmla="*/ 703782 w 895108"/>
              <a:gd name="connsiteY9" fmla="*/ 875128 h 875128"/>
              <a:gd name="connsiteX10" fmla="*/ 0 w 895108"/>
              <a:gd name="connsiteY10" fmla="*/ 171346 h 875128"/>
              <a:gd name="connsiteX11" fmla="*/ 14298 w 895108"/>
              <a:gd name="connsiteY11" fmla="*/ 29509 h 875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95108" h="875128">
                <a:moveTo>
                  <a:pt x="23459" y="0"/>
                </a:moveTo>
                <a:lnTo>
                  <a:pt x="213746" y="0"/>
                </a:lnTo>
                <a:lnTo>
                  <a:pt x="193164" y="66305"/>
                </a:lnTo>
                <a:cubicBezTo>
                  <a:pt x="186221" y="100234"/>
                  <a:pt x="182575" y="135364"/>
                  <a:pt x="182575" y="171346"/>
                </a:cubicBezTo>
                <a:cubicBezTo>
                  <a:pt x="182575" y="459201"/>
                  <a:pt x="415927" y="692553"/>
                  <a:pt x="703782" y="692553"/>
                </a:cubicBezTo>
                <a:cubicBezTo>
                  <a:pt x="739764" y="692553"/>
                  <a:pt x="774894" y="688907"/>
                  <a:pt x="808823" y="681964"/>
                </a:cubicBezTo>
                <a:lnTo>
                  <a:pt x="895108" y="655180"/>
                </a:lnTo>
                <a:lnTo>
                  <a:pt x="895108" y="845467"/>
                </a:lnTo>
                <a:lnTo>
                  <a:pt x="845619" y="860830"/>
                </a:lnTo>
                <a:cubicBezTo>
                  <a:pt x="799804" y="870205"/>
                  <a:pt x="752368" y="875128"/>
                  <a:pt x="703782" y="875128"/>
                </a:cubicBezTo>
                <a:cubicBezTo>
                  <a:pt x="315094" y="875128"/>
                  <a:pt x="0" y="560034"/>
                  <a:pt x="0" y="171346"/>
                </a:cubicBezTo>
                <a:cubicBezTo>
                  <a:pt x="0" y="122760"/>
                  <a:pt x="4923" y="75324"/>
                  <a:pt x="14298" y="29509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4B792F19-AC56-46D2-8C0D-7875D84328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7952" y="2458642"/>
            <a:ext cx="6004048" cy="1200329"/>
          </a:xfrm>
        </p:spPr>
        <p:txBody>
          <a:bodyPr/>
          <a:lstStyle/>
          <a:p>
            <a:r>
              <a:rPr lang="en-US" sz="4000"/>
              <a:t>Brave, collaborative, transformational action… </a:t>
            </a:r>
          </a:p>
        </p:txBody>
      </p:sp>
      <p:sp>
        <p:nvSpPr>
          <p:cNvPr id="27" name="Subtitle 26">
            <a:extLst>
              <a:ext uri="{FF2B5EF4-FFF2-40B4-BE49-F238E27FC236}">
                <a16:creationId xmlns:a16="http://schemas.microsoft.com/office/drawing/2014/main" id="{32976478-EC21-4766-9320-45B908101AD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38999" y="3658971"/>
            <a:ext cx="4505447" cy="468529"/>
          </a:xfrm>
        </p:spPr>
        <p:txBody>
          <a:bodyPr/>
          <a:lstStyle/>
          <a:p>
            <a:r>
              <a:rPr lang="en-US"/>
              <a:t>…towards a climate-ready Highland</a:t>
            </a:r>
          </a:p>
        </p:txBody>
      </p:sp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116A58AF-6BD9-498F-9232-9F93213B328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836" y="1234565"/>
            <a:ext cx="4924935" cy="4924935"/>
          </a:xfrm>
          <a:prstGeom prst="flowChartConnector">
            <a:avLst/>
          </a:prstGeom>
        </p:spPr>
      </p:pic>
    </p:spTree>
    <p:extLst>
      <p:ext uri="{BB962C8B-B14F-4D97-AF65-F5344CB8AC3E}">
        <p14:creationId xmlns:p14="http://schemas.microsoft.com/office/powerpoint/2010/main" val="24420473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D833E75-E7E9-4ED4-9FA1-47E3707AEC2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5301" y="0"/>
            <a:ext cx="804139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43918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lowchart: Connector 12">
            <a:extLst>
              <a:ext uri="{FF2B5EF4-FFF2-40B4-BE49-F238E27FC236}">
                <a16:creationId xmlns:a16="http://schemas.microsoft.com/office/drawing/2014/main" id="{657D1621-65D8-4AFB-AE7E-D1B21A0E19E2}"/>
              </a:ext>
            </a:extLst>
          </p:cNvPr>
          <p:cNvSpPr/>
          <p:nvPr/>
        </p:nvSpPr>
        <p:spPr>
          <a:xfrm>
            <a:off x="317501" y="596900"/>
            <a:ext cx="5905500" cy="5702300"/>
          </a:xfrm>
          <a:prstGeom prst="flowChartConnector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CC99DA-690D-4F03-99F7-D399FE5D402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95351" y="2717568"/>
            <a:ext cx="4671149" cy="1421928"/>
          </a:xfrm>
        </p:spPr>
        <p:txBody>
          <a:bodyPr/>
          <a:lstStyle/>
          <a:p>
            <a:r>
              <a:rPr lang="en-GB" sz="4800">
                <a:latin typeface="Abadi" panose="020B0604020104020204" pitchFamily="34" charset="0"/>
              </a:rPr>
              <a:t>Place Based </a:t>
            </a:r>
            <a:br>
              <a:rPr lang="en-GB" sz="4800">
                <a:latin typeface="Abadi" panose="020B0604020104020204" pitchFamily="34" charset="0"/>
              </a:rPr>
            </a:br>
            <a:r>
              <a:rPr lang="en-GB" sz="4800">
                <a:latin typeface="Abadi" panose="020B0604020104020204" pitchFamily="34" charset="0"/>
              </a:rPr>
              <a:t>Planning Team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DCF957B-1EE9-499A-963F-5834253B08F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" t="2" r="-1"/>
          <a:stretch/>
        </p:blipFill>
        <p:spPr>
          <a:xfrm>
            <a:off x="526080" y="739963"/>
            <a:ext cx="5579859" cy="5377138"/>
          </a:xfrm>
          <a:prstGeom prst="flowChartProcess">
            <a:avLst/>
          </a:prstGeom>
        </p:spPr>
      </p:pic>
      <p:sp>
        <p:nvSpPr>
          <p:cNvPr id="8" name="Hexagon 7">
            <a:extLst>
              <a:ext uri="{FF2B5EF4-FFF2-40B4-BE49-F238E27FC236}">
                <a16:creationId xmlns:a16="http://schemas.microsoft.com/office/drawing/2014/main" id="{E4CA5E85-836A-406B-9E0C-B1B23F2D4ACF}"/>
              </a:ext>
            </a:extLst>
          </p:cNvPr>
          <p:cNvSpPr/>
          <p:nvPr/>
        </p:nvSpPr>
        <p:spPr>
          <a:xfrm>
            <a:off x="2397991" y="4419599"/>
            <a:ext cx="1635216" cy="1392287"/>
          </a:xfrm>
          <a:prstGeom prst="hexagon">
            <a:avLst/>
          </a:prstGeom>
          <a:noFill/>
          <a:ln w="209550">
            <a:solidFill>
              <a:srgbClr val="C449F5">
                <a:alpha val="69804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AD0DED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A7184EE-5200-42C0-9B88-D1AFFD647BF7}"/>
              </a:ext>
            </a:extLst>
          </p:cNvPr>
          <p:cNvSpPr/>
          <p:nvPr/>
        </p:nvSpPr>
        <p:spPr>
          <a:xfrm>
            <a:off x="6301651" y="266700"/>
            <a:ext cx="5801449" cy="20066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1D531B4-6B11-4986-A4C8-8C910669451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biLevel thresh="25000"/>
          </a:blip>
          <a:srcRect l="42974"/>
          <a:stretch/>
        </p:blipFill>
        <p:spPr>
          <a:xfrm>
            <a:off x="10874178" y="266700"/>
            <a:ext cx="1020342" cy="7493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2B36949-AB8F-4377-8B28-77782676399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57673"/>
          <a:stretch/>
        </p:blipFill>
        <p:spPr>
          <a:xfrm>
            <a:off x="10066046" y="266700"/>
            <a:ext cx="757332" cy="749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13988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Highland Adapt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90B9"/>
      </a:accent1>
      <a:accent2>
        <a:srgbClr val="26B068"/>
      </a:accent2>
      <a:accent3>
        <a:srgbClr val="E9B641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1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405</Words>
  <Application>Microsoft Office PowerPoint</Application>
  <PresentationFormat>Widescreen</PresentationFormat>
  <Paragraphs>37</Paragraphs>
  <Slides>1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3" baseType="lpstr">
      <vt:lpstr>Abadi</vt:lpstr>
      <vt:lpstr>Arial</vt:lpstr>
      <vt:lpstr>Avenir Next LT Pro</vt:lpstr>
      <vt:lpstr>Calibri</vt:lpstr>
      <vt:lpstr>Calibri Light</vt:lpstr>
      <vt:lpstr>Century Gothic</vt:lpstr>
      <vt:lpstr>Symbol</vt:lpstr>
      <vt:lpstr>1_Office Theme</vt:lpstr>
      <vt:lpstr>think-cell Slide</vt:lpstr>
      <vt:lpstr>PowerPoint Presentation</vt:lpstr>
      <vt:lpstr>1. Introduction to Highland Adapts and how we work  2. Place-based approach  3. Climate Risk and Opportunity Assessment</vt:lpstr>
      <vt:lpstr>The purpose of the Highland Adapts initiative is to bring our communities, businesses, land managers and public sector together to facilitate transformational action towards a prosperous, climate-ready Highland.</vt:lpstr>
      <vt:lpstr>Highland Adapts Founding Partners </vt:lpstr>
      <vt:lpstr>Guiding Principles </vt:lpstr>
      <vt:lpstr>Partnership Objectives</vt:lpstr>
      <vt:lpstr>Brave, collaborative, transformational action… </vt:lpstr>
      <vt:lpstr>PowerPoint Presentation</vt:lpstr>
      <vt:lpstr>Place Based  Planning Team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irsty Smailes (Business Management (P&amp;G))</dc:creator>
  <cp:lastModifiedBy>Kirsty Smailes (Business Management (P&amp;G))</cp:lastModifiedBy>
  <cp:revision>4</cp:revision>
  <dcterms:created xsi:type="dcterms:W3CDTF">2023-04-13T11:13:03Z</dcterms:created>
  <dcterms:modified xsi:type="dcterms:W3CDTF">2023-04-13T11:36:02Z</dcterms:modified>
</cp:coreProperties>
</file>